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theme/theme2.xml" ContentType="application/vnd.openxmlformats-officedocument.theme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theme/theme3.xml" ContentType="application/vnd.openxmlformats-officedocument.theme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theme/theme4.xml" ContentType="application/vnd.openxmlformats-officedocument.theme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theme/theme5.xml" ContentType="application/vnd.openxmlformats-officedocument.theme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slideLayouts/slideLayout1158.xml" ContentType="application/vnd.openxmlformats-officedocument.presentationml.slideLayout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slideLayouts/slideLayout1171.xml" ContentType="application/vnd.openxmlformats-officedocument.presentationml.slideLayout+xml"/>
  <Override PartName="/ppt/slideLayouts/slideLayout1172.xml" ContentType="application/vnd.openxmlformats-officedocument.presentationml.slideLayout+xml"/>
  <Override PartName="/ppt/slideLayouts/slideLayout1173.xml" ContentType="application/vnd.openxmlformats-officedocument.presentationml.slideLayout+xml"/>
  <Override PartName="/ppt/slideLayouts/slideLayout1174.xml" ContentType="application/vnd.openxmlformats-officedocument.presentationml.slideLayout+xml"/>
  <Override PartName="/ppt/slideLayouts/slideLayout1175.xml" ContentType="application/vnd.openxmlformats-officedocument.presentationml.slideLayout+xml"/>
  <Override PartName="/ppt/slideLayouts/slideLayout1176.xml" ContentType="application/vnd.openxmlformats-officedocument.presentationml.slideLayout+xml"/>
  <Override PartName="/ppt/slideLayouts/slideLayout1177.xml" ContentType="application/vnd.openxmlformats-officedocument.presentationml.slideLayout+xml"/>
  <Override PartName="/ppt/slideLayouts/slideLayout1178.xml" ContentType="application/vnd.openxmlformats-officedocument.presentationml.slideLayout+xml"/>
  <Override PartName="/ppt/slideLayouts/slideLayout1179.xml" ContentType="application/vnd.openxmlformats-officedocument.presentationml.slideLayout+xml"/>
  <Override PartName="/ppt/slideLayouts/slideLayout1180.xml" ContentType="application/vnd.openxmlformats-officedocument.presentationml.slideLayout+xml"/>
  <Override PartName="/ppt/slideLayouts/slideLayout1181.xml" ContentType="application/vnd.openxmlformats-officedocument.presentationml.slideLayout+xml"/>
  <Override PartName="/ppt/slideLayouts/slideLayout1182.xml" ContentType="application/vnd.openxmlformats-officedocument.presentationml.slideLayout+xml"/>
  <Override PartName="/ppt/slideLayouts/slideLayout1183.xml" ContentType="application/vnd.openxmlformats-officedocument.presentationml.slideLayout+xml"/>
  <Override PartName="/ppt/slideLayouts/slideLayout1184.xml" ContentType="application/vnd.openxmlformats-officedocument.presentationml.slideLayout+xml"/>
  <Override PartName="/ppt/slideLayouts/slideLayout1185.xml" ContentType="application/vnd.openxmlformats-officedocument.presentationml.slideLayout+xml"/>
  <Override PartName="/ppt/slideLayouts/slideLayout1186.xml" ContentType="application/vnd.openxmlformats-officedocument.presentationml.slideLayout+xml"/>
  <Override PartName="/ppt/slideLayouts/slideLayout1187.xml" ContentType="application/vnd.openxmlformats-officedocument.presentationml.slideLayout+xml"/>
  <Override PartName="/ppt/slideLayouts/slideLayout1188.xml" ContentType="application/vnd.openxmlformats-officedocument.presentationml.slideLayout+xml"/>
  <Override PartName="/ppt/slideLayouts/slideLayout1189.xml" ContentType="application/vnd.openxmlformats-officedocument.presentationml.slideLayout+xml"/>
  <Override PartName="/ppt/slideLayouts/slideLayout1190.xml" ContentType="application/vnd.openxmlformats-officedocument.presentationml.slideLayout+xml"/>
  <Override PartName="/ppt/slideLayouts/slideLayout1191.xml" ContentType="application/vnd.openxmlformats-officedocument.presentationml.slideLayout+xml"/>
  <Override PartName="/ppt/slideLayouts/slideLayout1192.xml" ContentType="application/vnd.openxmlformats-officedocument.presentationml.slideLayout+xml"/>
  <Override PartName="/ppt/slideLayouts/slideLayout1193.xml" ContentType="application/vnd.openxmlformats-officedocument.presentationml.slideLayout+xml"/>
  <Override PartName="/ppt/slideLayouts/slideLayout1194.xml" ContentType="application/vnd.openxmlformats-officedocument.presentationml.slideLayout+xml"/>
  <Override PartName="/ppt/slideLayouts/slideLayout1195.xml" ContentType="application/vnd.openxmlformats-officedocument.presentationml.slideLayout+xml"/>
  <Override PartName="/ppt/slideLayouts/slideLayout1196.xml" ContentType="application/vnd.openxmlformats-officedocument.presentationml.slideLayout+xml"/>
  <Override PartName="/ppt/slideLayouts/slideLayout1197.xml" ContentType="application/vnd.openxmlformats-officedocument.presentationml.slideLayout+xml"/>
  <Override PartName="/ppt/slideLayouts/slideLayout1198.xml" ContentType="application/vnd.openxmlformats-officedocument.presentationml.slideLayout+xml"/>
  <Override PartName="/ppt/slideLayouts/slideLayout1199.xml" ContentType="application/vnd.openxmlformats-officedocument.presentationml.slideLayout+xml"/>
  <Override PartName="/ppt/slideLayouts/slideLayout1200.xml" ContentType="application/vnd.openxmlformats-officedocument.presentationml.slideLayout+xml"/>
  <Override PartName="/ppt/slideLayouts/slideLayout1201.xml" ContentType="application/vnd.openxmlformats-officedocument.presentationml.slideLayout+xml"/>
  <Override PartName="/ppt/slideLayouts/slideLayout1202.xml" ContentType="application/vnd.openxmlformats-officedocument.presentationml.slideLayout+xml"/>
  <Override PartName="/ppt/slideLayouts/slideLayout1203.xml" ContentType="application/vnd.openxmlformats-officedocument.presentationml.slideLayout+xml"/>
  <Override PartName="/ppt/slideLayouts/slideLayout1204.xml" ContentType="application/vnd.openxmlformats-officedocument.presentationml.slideLayout+xml"/>
  <Override PartName="/ppt/slideLayouts/slideLayout1205.xml" ContentType="application/vnd.openxmlformats-officedocument.presentationml.slideLayout+xml"/>
  <Override PartName="/ppt/slideLayouts/slideLayout1206.xml" ContentType="application/vnd.openxmlformats-officedocument.presentationml.slideLayout+xml"/>
  <Override PartName="/ppt/slideLayouts/slideLayout1207.xml" ContentType="application/vnd.openxmlformats-officedocument.presentationml.slideLayout+xml"/>
  <Override PartName="/ppt/slideLayouts/slideLayout1208.xml" ContentType="application/vnd.openxmlformats-officedocument.presentationml.slideLayout+xml"/>
  <Override PartName="/ppt/slideLayouts/slideLayout1209.xml" ContentType="application/vnd.openxmlformats-officedocument.presentationml.slideLayout+xml"/>
  <Override PartName="/ppt/slideLayouts/slideLayout1210.xml" ContentType="application/vnd.openxmlformats-officedocument.presentationml.slideLayout+xml"/>
  <Override PartName="/ppt/slideLayouts/slideLayout1211.xml" ContentType="application/vnd.openxmlformats-officedocument.presentationml.slideLayout+xml"/>
  <Override PartName="/ppt/slideLayouts/slideLayout1212.xml" ContentType="application/vnd.openxmlformats-officedocument.presentationml.slideLayout+xml"/>
  <Override PartName="/ppt/slideLayouts/slideLayout1213.xml" ContentType="application/vnd.openxmlformats-officedocument.presentationml.slideLayout+xml"/>
  <Override PartName="/ppt/slideLayouts/slideLayout1214.xml" ContentType="application/vnd.openxmlformats-officedocument.presentationml.slideLayout+xml"/>
  <Override PartName="/ppt/slideLayouts/slideLayout1215.xml" ContentType="application/vnd.openxmlformats-officedocument.presentationml.slideLayout+xml"/>
  <Override PartName="/ppt/slideLayouts/slideLayout1216.xml" ContentType="application/vnd.openxmlformats-officedocument.presentationml.slideLayout+xml"/>
  <Override PartName="/ppt/slideLayouts/slideLayout1217.xml" ContentType="application/vnd.openxmlformats-officedocument.presentationml.slideLayout+xml"/>
  <Override PartName="/ppt/slideLayouts/slideLayout1218.xml" ContentType="application/vnd.openxmlformats-officedocument.presentationml.slideLayout+xml"/>
  <Override PartName="/ppt/slideLayouts/slideLayout1219.xml" ContentType="application/vnd.openxmlformats-officedocument.presentationml.slideLayout+xml"/>
  <Override PartName="/ppt/slideLayouts/slideLayout1220.xml" ContentType="application/vnd.openxmlformats-officedocument.presentationml.slideLayout+xml"/>
  <Override PartName="/ppt/slideLayouts/slideLayout1221.xml" ContentType="application/vnd.openxmlformats-officedocument.presentationml.slideLayout+xml"/>
  <Override PartName="/ppt/slideLayouts/slideLayout1222.xml" ContentType="application/vnd.openxmlformats-officedocument.presentationml.slideLayout+xml"/>
  <Override PartName="/ppt/slideLayouts/slideLayout1223.xml" ContentType="application/vnd.openxmlformats-officedocument.presentationml.slideLayout+xml"/>
  <Override PartName="/ppt/slideLayouts/slideLayout1224.xml" ContentType="application/vnd.openxmlformats-officedocument.presentationml.slideLayout+xml"/>
  <Override PartName="/ppt/slideLayouts/slideLayout1225.xml" ContentType="application/vnd.openxmlformats-officedocument.presentationml.slideLayout+xml"/>
  <Override PartName="/ppt/slideLayouts/slideLayout1226.xml" ContentType="application/vnd.openxmlformats-officedocument.presentationml.slideLayout+xml"/>
  <Override PartName="/ppt/slideLayouts/slideLayout1227.xml" ContentType="application/vnd.openxmlformats-officedocument.presentationml.slideLayout+xml"/>
  <Override PartName="/ppt/slideLayouts/slideLayout1228.xml" ContentType="application/vnd.openxmlformats-officedocument.presentationml.slideLayout+xml"/>
  <Override PartName="/ppt/slideLayouts/slideLayout1229.xml" ContentType="application/vnd.openxmlformats-officedocument.presentationml.slideLayout+xml"/>
  <Override PartName="/ppt/slideLayouts/slideLayout1230.xml" ContentType="application/vnd.openxmlformats-officedocument.presentationml.slideLayout+xml"/>
  <Override PartName="/ppt/slideLayouts/slideLayout1231.xml" ContentType="application/vnd.openxmlformats-officedocument.presentationml.slideLayout+xml"/>
  <Override PartName="/ppt/slideLayouts/slideLayout1232.xml" ContentType="application/vnd.openxmlformats-officedocument.presentationml.slideLayout+xml"/>
  <Override PartName="/ppt/slideLayouts/slideLayout1233.xml" ContentType="application/vnd.openxmlformats-officedocument.presentationml.slideLayout+xml"/>
  <Override PartName="/ppt/slideLayouts/slideLayout1234.xml" ContentType="application/vnd.openxmlformats-officedocument.presentationml.slideLayout+xml"/>
  <Override PartName="/ppt/slideLayouts/slideLayout1235.xml" ContentType="application/vnd.openxmlformats-officedocument.presentationml.slideLayout+xml"/>
  <Override PartName="/ppt/slideLayouts/slideLayout1236.xml" ContentType="application/vnd.openxmlformats-officedocument.presentationml.slideLayout+xml"/>
  <Override PartName="/ppt/slideLayouts/slideLayout1237.xml" ContentType="application/vnd.openxmlformats-officedocument.presentationml.slideLayout+xml"/>
  <Override PartName="/ppt/slideLayouts/slideLayout1238.xml" ContentType="application/vnd.openxmlformats-officedocument.presentationml.slideLayout+xml"/>
  <Override PartName="/ppt/slideLayouts/slideLayout1239.xml" ContentType="application/vnd.openxmlformats-officedocument.presentationml.slideLayout+xml"/>
  <Override PartName="/ppt/slideLayouts/slideLayout1240.xml" ContentType="application/vnd.openxmlformats-officedocument.presentationml.slideLayout+xml"/>
  <Override PartName="/ppt/slideLayouts/slideLayout1241.xml" ContentType="application/vnd.openxmlformats-officedocument.presentationml.slideLayout+xml"/>
  <Override PartName="/ppt/slideLayouts/slideLayout1242.xml" ContentType="application/vnd.openxmlformats-officedocument.presentationml.slideLayout+xml"/>
  <Override PartName="/ppt/slideLayouts/slideLayout1243.xml" ContentType="application/vnd.openxmlformats-officedocument.presentationml.slideLayout+xml"/>
  <Override PartName="/ppt/slideLayouts/slideLayout1244.xml" ContentType="application/vnd.openxmlformats-officedocument.presentationml.slideLayout+xml"/>
  <Override PartName="/ppt/slideLayouts/slideLayout1245.xml" ContentType="application/vnd.openxmlformats-officedocument.presentationml.slideLayout+xml"/>
  <Override PartName="/ppt/slideLayouts/slideLayout1246.xml" ContentType="application/vnd.openxmlformats-officedocument.presentationml.slideLayout+xml"/>
  <Override PartName="/ppt/slideLayouts/slideLayout1247.xml" ContentType="application/vnd.openxmlformats-officedocument.presentationml.slideLayout+xml"/>
  <Override PartName="/ppt/slideLayouts/slideLayout1248.xml" ContentType="application/vnd.openxmlformats-officedocument.presentationml.slideLayout+xml"/>
  <Override PartName="/ppt/slideLayouts/slideLayout1249.xml" ContentType="application/vnd.openxmlformats-officedocument.presentationml.slideLayout+xml"/>
  <Override PartName="/ppt/slideLayouts/slideLayout1250.xml" ContentType="application/vnd.openxmlformats-officedocument.presentationml.slideLayout+xml"/>
  <Override PartName="/ppt/slideLayouts/slideLayout1251.xml" ContentType="application/vnd.openxmlformats-officedocument.presentationml.slideLayout+xml"/>
  <Override PartName="/ppt/slideLayouts/slideLayout1252.xml" ContentType="application/vnd.openxmlformats-officedocument.presentationml.slideLayout+xml"/>
  <Override PartName="/ppt/slideLayouts/slideLayout1253.xml" ContentType="application/vnd.openxmlformats-officedocument.presentationml.slideLayout+xml"/>
  <Override PartName="/ppt/slideLayouts/slideLayout1254.xml" ContentType="application/vnd.openxmlformats-officedocument.presentationml.slideLayout+xml"/>
  <Override PartName="/ppt/slideLayouts/slideLayout1255.xml" ContentType="application/vnd.openxmlformats-officedocument.presentationml.slideLayout+xml"/>
  <Override PartName="/ppt/slideLayouts/slideLayout1256.xml" ContentType="application/vnd.openxmlformats-officedocument.presentationml.slideLayout+xml"/>
  <Override PartName="/ppt/slideLayouts/slideLayout1257.xml" ContentType="application/vnd.openxmlformats-officedocument.presentationml.slideLayout+xml"/>
  <Override PartName="/ppt/slideLayouts/slideLayout1258.xml" ContentType="application/vnd.openxmlformats-officedocument.presentationml.slideLayout+xml"/>
  <Override PartName="/ppt/slideLayouts/slideLayout1259.xml" ContentType="application/vnd.openxmlformats-officedocument.presentationml.slideLayout+xml"/>
  <Override PartName="/ppt/slideLayouts/slideLayout1260.xml" ContentType="application/vnd.openxmlformats-officedocument.presentationml.slideLayout+xml"/>
  <Override PartName="/ppt/slideLayouts/slideLayout1261.xml" ContentType="application/vnd.openxmlformats-officedocument.presentationml.slideLayout+xml"/>
  <Override PartName="/ppt/slideLayouts/slideLayout1262.xml" ContentType="application/vnd.openxmlformats-officedocument.presentationml.slideLayout+xml"/>
  <Override PartName="/ppt/slideLayouts/slideLayout1263.xml" ContentType="application/vnd.openxmlformats-officedocument.presentationml.slideLayout+xml"/>
  <Override PartName="/ppt/slideLayouts/slideLayout1264.xml" ContentType="application/vnd.openxmlformats-officedocument.presentationml.slideLayout+xml"/>
  <Override PartName="/ppt/slideLayouts/slideLayout1265.xml" ContentType="application/vnd.openxmlformats-officedocument.presentationml.slideLayout+xml"/>
  <Override PartName="/ppt/slideLayouts/slideLayout1266.xml" ContentType="application/vnd.openxmlformats-officedocument.presentationml.slideLayout+xml"/>
  <Override PartName="/ppt/slideLayouts/slideLayout1267.xml" ContentType="application/vnd.openxmlformats-officedocument.presentationml.slideLayout+xml"/>
  <Override PartName="/ppt/slideLayouts/slideLayout1268.xml" ContentType="application/vnd.openxmlformats-officedocument.presentationml.slideLayout+xml"/>
  <Override PartName="/ppt/slideLayouts/slideLayout1269.xml" ContentType="application/vnd.openxmlformats-officedocument.presentationml.slideLayout+xml"/>
  <Override PartName="/ppt/slideLayouts/slideLayout1270.xml" ContentType="application/vnd.openxmlformats-officedocument.presentationml.slideLayout+xml"/>
  <Override PartName="/ppt/slideLayouts/slideLayout1271.xml" ContentType="application/vnd.openxmlformats-officedocument.presentationml.slideLayout+xml"/>
  <Override PartName="/ppt/slideLayouts/slideLayout1272.xml" ContentType="application/vnd.openxmlformats-officedocument.presentationml.slideLayout+xml"/>
  <Override PartName="/ppt/slideLayouts/slideLayout1273.xml" ContentType="application/vnd.openxmlformats-officedocument.presentationml.slideLayout+xml"/>
  <Override PartName="/ppt/slideLayouts/slideLayout1274.xml" ContentType="application/vnd.openxmlformats-officedocument.presentationml.slideLayout+xml"/>
  <Override PartName="/ppt/slideLayouts/slideLayout1275.xml" ContentType="application/vnd.openxmlformats-officedocument.presentationml.slideLayout+xml"/>
  <Override PartName="/ppt/slideLayouts/slideLayout1276.xml" ContentType="application/vnd.openxmlformats-officedocument.presentationml.slideLayout+xml"/>
  <Override PartName="/ppt/slideLayouts/slideLayout1277.xml" ContentType="application/vnd.openxmlformats-officedocument.presentationml.slideLayout+xml"/>
  <Override PartName="/ppt/slideLayouts/slideLayout1278.xml" ContentType="application/vnd.openxmlformats-officedocument.presentationml.slideLayout+xml"/>
  <Override PartName="/ppt/slideLayouts/slideLayout1279.xml" ContentType="application/vnd.openxmlformats-officedocument.presentationml.slideLayout+xml"/>
  <Override PartName="/ppt/slideLayouts/slideLayout1280.xml" ContentType="application/vnd.openxmlformats-officedocument.presentationml.slideLayout+xml"/>
  <Override PartName="/ppt/slideLayouts/slideLayout1281.xml" ContentType="application/vnd.openxmlformats-officedocument.presentationml.slideLayout+xml"/>
  <Override PartName="/ppt/slideLayouts/slideLayout1282.xml" ContentType="application/vnd.openxmlformats-officedocument.presentationml.slideLayout+xml"/>
  <Override PartName="/ppt/slideLayouts/slideLayout1283.xml" ContentType="application/vnd.openxmlformats-officedocument.presentationml.slideLayout+xml"/>
  <Override PartName="/ppt/slideLayouts/slideLayout1284.xml" ContentType="application/vnd.openxmlformats-officedocument.presentationml.slideLayout+xml"/>
  <Override PartName="/ppt/slideLayouts/slideLayout1285.xml" ContentType="application/vnd.openxmlformats-officedocument.presentationml.slideLayout+xml"/>
  <Override PartName="/ppt/slideLayouts/slideLayout1286.xml" ContentType="application/vnd.openxmlformats-officedocument.presentationml.slideLayout+xml"/>
  <Override PartName="/ppt/slideLayouts/slideLayout1287.xml" ContentType="application/vnd.openxmlformats-officedocument.presentationml.slideLayout+xml"/>
  <Override PartName="/ppt/slideLayouts/slideLayout1288.xml" ContentType="application/vnd.openxmlformats-officedocument.presentationml.slideLayout+xml"/>
  <Override PartName="/ppt/slideLayouts/slideLayout1289.xml" ContentType="application/vnd.openxmlformats-officedocument.presentationml.slideLayout+xml"/>
  <Override PartName="/ppt/slideLayouts/slideLayout1290.xml" ContentType="application/vnd.openxmlformats-officedocument.presentationml.slideLayout+xml"/>
  <Override PartName="/ppt/slideLayouts/slideLayout1291.xml" ContentType="application/vnd.openxmlformats-officedocument.presentationml.slideLayout+xml"/>
  <Override PartName="/ppt/slideLayouts/slideLayout1292.xml" ContentType="application/vnd.openxmlformats-officedocument.presentationml.slideLayout+xml"/>
  <Override PartName="/ppt/slideLayouts/slideLayout1293.xml" ContentType="application/vnd.openxmlformats-officedocument.presentationml.slideLayout+xml"/>
  <Override PartName="/ppt/slideLayouts/slideLayout1294.xml" ContentType="application/vnd.openxmlformats-officedocument.presentationml.slideLayout+xml"/>
  <Override PartName="/ppt/slideLayouts/slideLayout1295.xml" ContentType="application/vnd.openxmlformats-officedocument.presentationml.slideLayout+xml"/>
  <Override PartName="/ppt/slideLayouts/slideLayout1296.xml" ContentType="application/vnd.openxmlformats-officedocument.presentationml.slideLayout+xml"/>
  <Override PartName="/ppt/slideLayouts/slideLayout1297.xml" ContentType="application/vnd.openxmlformats-officedocument.presentationml.slideLayout+xml"/>
  <Override PartName="/ppt/slideLayouts/slideLayout1298.xml" ContentType="application/vnd.openxmlformats-officedocument.presentationml.slideLayout+xml"/>
  <Override PartName="/ppt/slideLayouts/slideLayout1299.xml" ContentType="application/vnd.openxmlformats-officedocument.presentationml.slideLayout+xml"/>
  <Override PartName="/ppt/slideLayouts/slideLayout1300.xml" ContentType="application/vnd.openxmlformats-officedocument.presentationml.slideLayout+xml"/>
  <Override PartName="/ppt/slideLayouts/slideLayout1301.xml" ContentType="application/vnd.openxmlformats-officedocument.presentationml.slideLayout+xml"/>
  <Override PartName="/ppt/slideLayouts/slideLayout1302.xml" ContentType="application/vnd.openxmlformats-officedocument.presentationml.slideLayout+xml"/>
  <Override PartName="/ppt/slideLayouts/slideLayout1303.xml" ContentType="application/vnd.openxmlformats-officedocument.presentationml.slideLayout+xml"/>
  <Override PartName="/ppt/slideLayouts/slideLayout1304.xml" ContentType="application/vnd.openxmlformats-officedocument.presentationml.slideLayout+xml"/>
  <Override PartName="/ppt/slideLayouts/slideLayout1305.xml" ContentType="application/vnd.openxmlformats-officedocument.presentationml.slideLayout+xml"/>
  <Override PartName="/ppt/slideLayouts/slideLayout1306.xml" ContentType="application/vnd.openxmlformats-officedocument.presentationml.slideLayout+xml"/>
  <Override PartName="/ppt/slideLayouts/slideLayout1307.xml" ContentType="application/vnd.openxmlformats-officedocument.presentationml.slideLayout+xml"/>
  <Override PartName="/ppt/slideLayouts/slideLayout1308.xml" ContentType="application/vnd.openxmlformats-officedocument.presentationml.slideLayout+xml"/>
  <Override PartName="/ppt/slideLayouts/slideLayout1309.xml" ContentType="application/vnd.openxmlformats-officedocument.presentationml.slideLayout+xml"/>
  <Override PartName="/ppt/slideLayouts/slideLayout1310.xml" ContentType="application/vnd.openxmlformats-officedocument.presentationml.slideLayout+xml"/>
  <Override PartName="/ppt/slideLayouts/slideLayout1311.xml" ContentType="application/vnd.openxmlformats-officedocument.presentationml.slideLayout+xml"/>
  <Override PartName="/ppt/slideLayouts/slideLayout1312.xml" ContentType="application/vnd.openxmlformats-officedocument.presentationml.slideLayout+xml"/>
  <Override PartName="/ppt/slideLayouts/slideLayout1313.xml" ContentType="application/vnd.openxmlformats-officedocument.presentationml.slideLayout+xml"/>
  <Override PartName="/ppt/slideLayouts/slideLayout1314.xml" ContentType="application/vnd.openxmlformats-officedocument.presentationml.slideLayout+xml"/>
  <Override PartName="/ppt/slideLayouts/slideLayout1315.xml" ContentType="application/vnd.openxmlformats-officedocument.presentationml.slideLayout+xml"/>
  <Override PartName="/ppt/slideLayouts/slideLayout1316.xml" ContentType="application/vnd.openxmlformats-officedocument.presentationml.slideLayout+xml"/>
  <Override PartName="/ppt/slideLayouts/slideLayout1317.xml" ContentType="application/vnd.openxmlformats-officedocument.presentationml.slideLayout+xml"/>
  <Override PartName="/ppt/slideLayouts/slideLayout1318.xml" ContentType="application/vnd.openxmlformats-officedocument.presentationml.slideLayout+xml"/>
  <Override PartName="/ppt/slideLayouts/slideLayout1319.xml" ContentType="application/vnd.openxmlformats-officedocument.presentationml.slideLayout+xml"/>
  <Override PartName="/ppt/slideLayouts/slideLayout1320.xml" ContentType="application/vnd.openxmlformats-officedocument.presentationml.slideLayout+xml"/>
  <Override PartName="/ppt/slideLayouts/slideLayout1321.xml" ContentType="application/vnd.openxmlformats-officedocument.presentationml.slideLayout+xml"/>
  <Override PartName="/ppt/slideLayouts/slideLayout1322.xml" ContentType="application/vnd.openxmlformats-officedocument.presentationml.slideLayout+xml"/>
  <Override PartName="/ppt/slideLayouts/slideLayout1323.xml" ContentType="application/vnd.openxmlformats-officedocument.presentationml.slideLayout+xml"/>
  <Override PartName="/ppt/slideLayouts/slideLayout1324.xml" ContentType="application/vnd.openxmlformats-officedocument.presentationml.slideLayout+xml"/>
  <Override PartName="/ppt/slideLayouts/slideLayout1325.xml" ContentType="application/vnd.openxmlformats-officedocument.presentationml.slideLayout+xml"/>
  <Override PartName="/ppt/slideLayouts/slideLayout1326.xml" ContentType="application/vnd.openxmlformats-officedocument.presentationml.slideLayout+xml"/>
  <Override PartName="/ppt/slideLayouts/slideLayout1327.xml" ContentType="application/vnd.openxmlformats-officedocument.presentationml.slideLayout+xml"/>
  <Override PartName="/ppt/slideLayouts/slideLayout1328.xml" ContentType="application/vnd.openxmlformats-officedocument.presentationml.slideLayout+xml"/>
  <Override PartName="/ppt/slideLayouts/slideLayout1329.xml" ContentType="application/vnd.openxmlformats-officedocument.presentationml.slideLayout+xml"/>
  <Override PartName="/ppt/slideLayouts/slideLayout1330.xml" ContentType="application/vnd.openxmlformats-officedocument.presentationml.slideLayout+xml"/>
  <Override PartName="/ppt/slideLayouts/slideLayout1331.xml" ContentType="application/vnd.openxmlformats-officedocument.presentationml.slideLayout+xml"/>
  <Override PartName="/ppt/slideLayouts/slideLayout1332.xml" ContentType="application/vnd.openxmlformats-officedocument.presentationml.slideLayout+xml"/>
  <Override PartName="/ppt/slideLayouts/slideLayout1333.xml" ContentType="application/vnd.openxmlformats-officedocument.presentationml.slideLayout+xml"/>
  <Override PartName="/ppt/slideLayouts/slideLayout1334.xml" ContentType="application/vnd.openxmlformats-officedocument.presentationml.slideLayout+xml"/>
  <Override PartName="/ppt/slideLayouts/slideLayout1335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336.xml" ContentType="application/vnd.openxmlformats-officedocument.presentationml.slideLayout+xml"/>
  <Override PartName="/ppt/slideLayouts/slideLayout1337.xml" ContentType="application/vnd.openxmlformats-officedocument.presentationml.slideLayout+xml"/>
  <Override PartName="/ppt/slideLayouts/slideLayout1338.xml" ContentType="application/vnd.openxmlformats-officedocument.presentationml.slideLayout+xml"/>
  <Override PartName="/ppt/slideLayouts/slideLayout1339.xml" ContentType="application/vnd.openxmlformats-officedocument.presentationml.slideLayout+xml"/>
  <Override PartName="/ppt/slideLayouts/slideLayout1340.xml" ContentType="application/vnd.openxmlformats-officedocument.presentationml.slideLayout+xml"/>
  <Override PartName="/ppt/slideLayouts/slideLayout1341.xml" ContentType="application/vnd.openxmlformats-officedocument.presentationml.slideLayout+xml"/>
  <Override PartName="/ppt/slideLayouts/slideLayout1342.xml" ContentType="application/vnd.openxmlformats-officedocument.presentationml.slideLayout+xml"/>
  <Override PartName="/ppt/slideLayouts/slideLayout1343.xml" ContentType="application/vnd.openxmlformats-officedocument.presentationml.slideLayout+xml"/>
  <Override PartName="/ppt/slideLayouts/slideLayout1344.xml" ContentType="application/vnd.openxmlformats-officedocument.presentationml.slideLayout+xml"/>
  <Override PartName="/ppt/slideLayouts/slideLayout1345.xml" ContentType="application/vnd.openxmlformats-officedocument.presentationml.slideLayout+xml"/>
  <Override PartName="/ppt/slideLayouts/slideLayout1346.xml" ContentType="application/vnd.openxmlformats-officedocument.presentationml.slideLayout+xml"/>
  <Override PartName="/ppt/slideLayouts/slideLayout1347.xml" ContentType="application/vnd.openxmlformats-officedocument.presentationml.slideLayout+xml"/>
  <Override PartName="/ppt/slideLayouts/slideLayout1348.xml" ContentType="application/vnd.openxmlformats-officedocument.presentationml.slideLayout+xml"/>
  <Override PartName="/ppt/slideLayouts/slideLayout1349.xml" ContentType="application/vnd.openxmlformats-officedocument.presentationml.slideLayout+xml"/>
  <Override PartName="/ppt/slideLayouts/slideLayout1350.xml" ContentType="application/vnd.openxmlformats-officedocument.presentationml.slideLayout+xml"/>
  <Override PartName="/ppt/slideLayouts/slideLayout1351.xml" ContentType="application/vnd.openxmlformats-officedocument.presentationml.slideLayout+xml"/>
  <Override PartName="/ppt/slideLayouts/slideLayout1352.xml" ContentType="application/vnd.openxmlformats-officedocument.presentationml.slideLayout+xml"/>
  <Override PartName="/ppt/slideLayouts/slideLayout1353.xml" ContentType="application/vnd.openxmlformats-officedocument.presentationml.slideLayout+xml"/>
  <Override PartName="/ppt/slideLayouts/slideLayout1354.xml" ContentType="application/vnd.openxmlformats-officedocument.presentationml.slideLayout+xml"/>
  <Override PartName="/ppt/slideLayouts/slideLayout1355.xml" ContentType="application/vnd.openxmlformats-officedocument.presentationml.slideLayout+xml"/>
  <Override PartName="/ppt/slideLayouts/slideLayout1356.xml" ContentType="application/vnd.openxmlformats-officedocument.presentationml.slideLayout+xml"/>
  <Override PartName="/ppt/slideLayouts/slideLayout1357.xml" ContentType="application/vnd.openxmlformats-officedocument.presentationml.slideLayout+xml"/>
  <Override PartName="/ppt/slideLayouts/slideLayout1358.xml" ContentType="application/vnd.openxmlformats-officedocument.presentationml.slideLayout+xml"/>
  <Override PartName="/ppt/slideLayouts/slideLayout1359.xml" ContentType="application/vnd.openxmlformats-officedocument.presentationml.slideLayout+xml"/>
  <Override PartName="/ppt/slideLayouts/slideLayout1360.xml" ContentType="application/vnd.openxmlformats-officedocument.presentationml.slideLayout+xml"/>
  <Override PartName="/ppt/slideLayouts/slideLayout1361.xml" ContentType="application/vnd.openxmlformats-officedocument.presentationml.slideLayout+xml"/>
  <Override PartName="/ppt/slideLayouts/slideLayout1362.xml" ContentType="application/vnd.openxmlformats-officedocument.presentationml.slideLayout+xml"/>
  <Override PartName="/ppt/slideLayouts/slideLayout1363.xml" ContentType="application/vnd.openxmlformats-officedocument.presentationml.slideLayout+xml"/>
  <Override PartName="/ppt/slideLayouts/slideLayout1364.xml" ContentType="application/vnd.openxmlformats-officedocument.presentationml.slideLayout+xml"/>
  <Override PartName="/ppt/slideLayouts/slideLayout1365.xml" ContentType="application/vnd.openxmlformats-officedocument.presentationml.slideLayout+xml"/>
  <Override PartName="/ppt/slideLayouts/slideLayout1366.xml" ContentType="application/vnd.openxmlformats-officedocument.presentationml.slideLayout+xml"/>
  <Override PartName="/ppt/slideLayouts/slideLayout1367.xml" ContentType="application/vnd.openxmlformats-officedocument.presentationml.slideLayout+xml"/>
  <Override PartName="/ppt/slideLayouts/slideLayout1368.xml" ContentType="application/vnd.openxmlformats-officedocument.presentationml.slideLayout+xml"/>
  <Override PartName="/ppt/slideLayouts/slideLayout1369.xml" ContentType="application/vnd.openxmlformats-officedocument.presentationml.slideLayout+xml"/>
  <Override PartName="/ppt/slideLayouts/slideLayout1370.xml" ContentType="application/vnd.openxmlformats-officedocument.presentationml.slideLayout+xml"/>
  <Override PartName="/ppt/slideLayouts/slideLayout1371.xml" ContentType="application/vnd.openxmlformats-officedocument.presentationml.slideLayout+xml"/>
  <Override PartName="/ppt/slideLayouts/slideLayout1372.xml" ContentType="application/vnd.openxmlformats-officedocument.presentationml.slideLayout+xml"/>
  <Override PartName="/ppt/slideLayouts/slideLayout1373.xml" ContentType="application/vnd.openxmlformats-officedocument.presentationml.slideLayout+xml"/>
  <Override PartName="/ppt/slideLayouts/slideLayout1374.xml" ContentType="application/vnd.openxmlformats-officedocument.presentationml.slideLayout+xml"/>
  <Override PartName="/ppt/slideLayouts/slideLayout1375.xml" ContentType="application/vnd.openxmlformats-officedocument.presentationml.slideLayout+xml"/>
  <Override PartName="/ppt/slideLayouts/slideLayout1376.xml" ContentType="application/vnd.openxmlformats-officedocument.presentationml.slideLayout+xml"/>
  <Override PartName="/ppt/slideLayouts/slideLayout1377.xml" ContentType="application/vnd.openxmlformats-officedocument.presentationml.slideLayout+xml"/>
  <Override PartName="/ppt/slideLayouts/slideLayout1378.xml" ContentType="application/vnd.openxmlformats-officedocument.presentationml.slideLayout+xml"/>
  <Override PartName="/ppt/slideLayouts/slideLayout1379.xml" ContentType="application/vnd.openxmlformats-officedocument.presentationml.slideLayout+xml"/>
  <Override PartName="/ppt/slideLayouts/slideLayout1380.xml" ContentType="application/vnd.openxmlformats-officedocument.presentationml.slideLayout+xml"/>
  <Override PartName="/ppt/slideLayouts/slideLayout1381.xml" ContentType="application/vnd.openxmlformats-officedocument.presentationml.slideLayout+xml"/>
  <Override PartName="/ppt/slideLayouts/slideLayout1382.xml" ContentType="application/vnd.openxmlformats-officedocument.presentationml.slideLayout+xml"/>
  <Override PartName="/ppt/slideLayouts/slideLayout1383.xml" ContentType="application/vnd.openxmlformats-officedocument.presentationml.slideLayout+xml"/>
  <Override PartName="/ppt/slideLayouts/slideLayout1384.xml" ContentType="application/vnd.openxmlformats-officedocument.presentationml.slideLayout+xml"/>
  <Override PartName="/ppt/slideLayouts/slideLayout1385.xml" ContentType="application/vnd.openxmlformats-officedocument.presentationml.slideLayout+xml"/>
  <Override PartName="/ppt/slideLayouts/slideLayout1386.xml" ContentType="application/vnd.openxmlformats-officedocument.presentationml.slideLayout+xml"/>
  <Override PartName="/ppt/slideLayouts/slideLayout1387.xml" ContentType="application/vnd.openxmlformats-officedocument.presentationml.slideLayout+xml"/>
  <Override PartName="/ppt/slideLayouts/slideLayout1388.xml" ContentType="application/vnd.openxmlformats-officedocument.presentationml.slideLayout+xml"/>
  <Override PartName="/ppt/slideLayouts/slideLayout1389.xml" ContentType="application/vnd.openxmlformats-officedocument.presentationml.slideLayout+xml"/>
  <Override PartName="/ppt/slideLayouts/slideLayout1390.xml" ContentType="application/vnd.openxmlformats-officedocument.presentationml.slideLayout+xml"/>
  <Override PartName="/ppt/slideLayouts/slideLayout1391.xml" ContentType="application/vnd.openxmlformats-officedocument.presentationml.slideLayout+xml"/>
  <Override PartName="/ppt/slideLayouts/slideLayout1392.xml" ContentType="application/vnd.openxmlformats-officedocument.presentationml.slideLayout+xml"/>
  <Override PartName="/ppt/slideLayouts/slideLayout1393.xml" ContentType="application/vnd.openxmlformats-officedocument.presentationml.slideLayout+xml"/>
  <Override PartName="/ppt/slideLayouts/slideLayout1394.xml" ContentType="application/vnd.openxmlformats-officedocument.presentationml.slideLayout+xml"/>
  <Override PartName="/ppt/slideLayouts/slideLayout1395.xml" ContentType="application/vnd.openxmlformats-officedocument.presentationml.slideLayout+xml"/>
  <Override PartName="/ppt/slideLayouts/slideLayout1396.xml" ContentType="application/vnd.openxmlformats-officedocument.presentationml.slideLayout+xml"/>
  <Override PartName="/ppt/slideLayouts/slideLayout1397.xml" ContentType="application/vnd.openxmlformats-officedocument.presentationml.slideLayout+xml"/>
  <Override PartName="/ppt/slideLayouts/slideLayout1398.xml" ContentType="application/vnd.openxmlformats-officedocument.presentationml.slideLayout+xml"/>
  <Override PartName="/ppt/slideLayouts/slideLayout1399.xml" ContentType="application/vnd.openxmlformats-officedocument.presentationml.slideLayout+xml"/>
  <Override PartName="/ppt/slideLayouts/slideLayout1400.xml" ContentType="application/vnd.openxmlformats-officedocument.presentationml.slideLayout+xml"/>
  <Override PartName="/ppt/slideLayouts/slideLayout1401.xml" ContentType="application/vnd.openxmlformats-officedocument.presentationml.slideLayout+xml"/>
  <Override PartName="/ppt/slideLayouts/slideLayout1402.xml" ContentType="application/vnd.openxmlformats-officedocument.presentationml.slideLayout+xml"/>
  <Override PartName="/ppt/slideLayouts/slideLayout1403.xml" ContentType="application/vnd.openxmlformats-officedocument.presentationml.slideLayout+xml"/>
  <Override PartName="/ppt/slideLayouts/slideLayout1404.xml" ContentType="application/vnd.openxmlformats-officedocument.presentationml.slideLayout+xml"/>
  <Override PartName="/ppt/slideLayouts/slideLayout1405.xml" ContentType="application/vnd.openxmlformats-officedocument.presentationml.slideLayout+xml"/>
  <Override PartName="/ppt/slideLayouts/slideLayout1406.xml" ContentType="application/vnd.openxmlformats-officedocument.presentationml.slideLayout+xml"/>
  <Override PartName="/ppt/slideLayouts/slideLayout1407.xml" ContentType="application/vnd.openxmlformats-officedocument.presentationml.slideLayout+xml"/>
  <Override PartName="/ppt/slideLayouts/slideLayout1408.xml" ContentType="application/vnd.openxmlformats-officedocument.presentationml.slideLayout+xml"/>
  <Override PartName="/ppt/slideLayouts/slideLayout1409.xml" ContentType="application/vnd.openxmlformats-officedocument.presentationml.slideLayout+xml"/>
  <Override PartName="/ppt/slideLayouts/slideLayout1410.xml" ContentType="application/vnd.openxmlformats-officedocument.presentationml.slideLayout+xml"/>
  <Override PartName="/ppt/slideLayouts/slideLayout1411.xml" ContentType="application/vnd.openxmlformats-officedocument.presentationml.slideLayout+xml"/>
  <Override PartName="/ppt/slideLayouts/slideLayout1412.xml" ContentType="application/vnd.openxmlformats-officedocument.presentationml.slideLayout+xml"/>
  <Override PartName="/ppt/slideLayouts/slideLayout1413.xml" ContentType="application/vnd.openxmlformats-officedocument.presentationml.slideLayout+xml"/>
  <Override PartName="/ppt/slideLayouts/slideLayout1414.xml" ContentType="application/vnd.openxmlformats-officedocument.presentationml.slideLayout+xml"/>
  <Override PartName="/ppt/slideLayouts/slideLayout1415.xml" ContentType="application/vnd.openxmlformats-officedocument.presentationml.slideLayout+xml"/>
  <Override PartName="/ppt/slideLayouts/slideLayout1416.xml" ContentType="application/vnd.openxmlformats-officedocument.presentationml.slideLayout+xml"/>
  <Override PartName="/ppt/slideLayouts/slideLayout1417.xml" ContentType="application/vnd.openxmlformats-officedocument.presentationml.slideLayout+xml"/>
  <Override PartName="/ppt/slideLayouts/slideLayout1418.xml" ContentType="application/vnd.openxmlformats-officedocument.presentationml.slideLayout+xml"/>
  <Override PartName="/ppt/slideLayouts/slideLayout1419.xml" ContentType="application/vnd.openxmlformats-officedocument.presentationml.slideLayout+xml"/>
  <Override PartName="/ppt/slideLayouts/slideLayout1420.xml" ContentType="application/vnd.openxmlformats-officedocument.presentationml.slideLayout+xml"/>
  <Override PartName="/ppt/slideLayouts/slideLayout1421.xml" ContentType="application/vnd.openxmlformats-officedocument.presentationml.slideLayout+xml"/>
  <Override PartName="/ppt/slideLayouts/slideLayout1422.xml" ContentType="application/vnd.openxmlformats-officedocument.presentationml.slideLayout+xml"/>
  <Override PartName="/ppt/slideLayouts/slideLayout1423.xml" ContentType="application/vnd.openxmlformats-officedocument.presentationml.slideLayout+xml"/>
  <Override PartName="/ppt/slideLayouts/slideLayout1424.xml" ContentType="application/vnd.openxmlformats-officedocument.presentationml.slideLayout+xml"/>
  <Override PartName="/ppt/slideLayouts/slideLayout1425.xml" ContentType="application/vnd.openxmlformats-officedocument.presentationml.slideLayout+xml"/>
  <Override PartName="/ppt/slideLayouts/slideLayout1426.xml" ContentType="application/vnd.openxmlformats-officedocument.presentationml.slideLayout+xml"/>
  <Override PartName="/ppt/slideLayouts/slideLayout1427.xml" ContentType="application/vnd.openxmlformats-officedocument.presentationml.slideLayout+xml"/>
  <Override PartName="/ppt/slideLayouts/slideLayout1428.xml" ContentType="application/vnd.openxmlformats-officedocument.presentationml.slideLayout+xml"/>
  <Override PartName="/ppt/slideLayouts/slideLayout1429.xml" ContentType="application/vnd.openxmlformats-officedocument.presentationml.slideLayout+xml"/>
  <Override PartName="/ppt/slideLayouts/slideLayout1430.xml" ContentType="application/vnd.openxmlformats-officedocument.presentationml.slideLayout+xml"/>
  <Override PartName="/ppt/slideLayouts/slideLayout1431.xml" ContentType="application/vnd.openxmlformats-officedocument.presentationml.slideLayout+xml"/>
  <Override PartName="/ppt/slideLayouts/slideLayout1432.xml" ContentType="application/vnd.openxmlformats-officedocument.presentationml.slideLayout+xml"/>
  <Override PartName="/ppt/slideLayouts/slideLayout1433.xml" ContentType="application/vnd.openxmlformats-officedocument.presentationml.slideLayout+xml"/>
  <Override PartName="/ppt/slideLayouts/slideLayout1434.xml" ContentType="application/vnd.openxmlformats-officedocument.presentationml.slideLayout+xml"/>
  <Override PartName="/ppt/slideLayouts/slideLayout1435.xml" ContentType="application/vnd.openxmlformats-officedocument.presentationml.slideLayout+xml"/>
  <Override PartName="/ppt/slideLayouts/slideLayout1436.xml" ContentType="application/vnd.openxmlformats-officedocument.presentationml.slideLayout+xml"/>
  <Override PartName="/ppt/slideLayouts/slideLayout1437.xml" ContentType="application/vnd.openxmlformats-officedocument.presentationml.slideLayout+xml"/>
  <Override PartName="/ppt/slideLayouts/slideLayout1438.xml" ContentType="application/vnd.openxmlformats-officedocument.presentationml.slideLayout+xml"/>
  <Override PartName="/ppt/slideLayouts/slideLayout1439.xml" ContentType="application/vnd.openxmlformats-officedocument.presentationml.slideLayout+xml"/>
  <Override PartName="/ppt/slideLayouts/slideLayout1440.xml" ContentType="application/vnd.openxmlformats-officedocument.presentationml.slideLayout+xml"/>
  <Override PartName="/ppt/slideLayouts/slideLayout1441.xml" ContentType="application/vnd.openxmlformats-officedocument.presentationml.slideLayout+xml"/>
  <Override PartName="/ppt/slideLayouts/slideLayout1442.xml" ContentType="application/vnd.openxmlformats-officedocument.presentationml.slideLayout+xml"/>
  <Override PartName="/ppt/slideLayouts/slideLayout1443.xml" ContentType="application/vnd.openxmlformats-officedocument.presentationml.slideLayout+xml"/>
  <Override PartName="/ppt/slideLayouts/slideLayout1444.xml" ContentType="application/vnd.openxmlformats-officedocument.presentationml.slideLayout+xml"/>
  <Override PartName="/ppt/slideLayouts/slideLayout1445.xml" ContentType="application/vnd.openxmlformats-officedocument.presentationml.slideLayout+xml"/>
  <Override PartName="/ppt/slideLayouts/slideLayout1446.xml" ContentType="application/vnd.openxmlformats-officedocument.presentationml.slideLayout+xml"/>
  <Override PartName="/ppt/slideLayouts/slideLayout1447.xml" ContentType="application/vnd.openxmlformats-officedocument.presentationml.slideLayout+xml"/>
  <Override PartName="/ppt/slideLayouts/slideLayout1448.xml" ContentType="application/vnd.openxmlformats-officedocument.presentationml.slideLayout+xml"/>
  <Override PartName="/ppt/slideLayouts/slideLayout1449.xml" ContentType="application/vnd.openxmlformats-officedocument.presentationml.slideLayout+xml"/>
  <Override PartName="/ppt/slideLayouts/slideLayout1450.xml" ContentType="application/vnd.openxmlformats-officedocument.presentationml.slideLayout+xml"/>
  <Override PartName="/ppt/slideLayouts/slideLayout1451.xml" ContentType="application/vnd.openxmlformats-officedocument.presentationml.slideLayout+xml"/>
  <Override PartName="/ppt/slideLayouts/slideLayout1452.xml" ContentType="application/vnd.openxmlformats-officedocument.presentationml.slideLayout+xml"/>
  <Override PartName="/ppt/slideLayouts/slideLayout1453.xml" ContentType="application/vnd.openxmlformats-officedocument.presentationml.slideLayout+xml"/>
  <Override PartName="/ppt/slideLayouts/slideLayout1454.xml" ContentType="application/vnd.openxmlformats-officedocument.presentationml.slideLayout+xml"/>
  <Override PartName="/ppt/slideLayouts/slideLayout1455.xml" ContentType="application/vnd.openxmlformats-officedocument.presentationml.slideLayout+xml"/>
  <Override PartName="/ppt/slideLayouts/slideLayout1456.xml" ContentType="application/vnd.openxmlformats-officedocument.presentationml.slideLayout+xml"/>
  <Override PartName="/ppt/slideLayouts/slideLayout1457.xml" ContentType="application/vnd.openxmlformats-officedocument.presentationml.slideLayout+xml"/>
  <Override PartName="/ppt/slideLayouts/slideLayout1458.xml" ContentType="application/vnd.openxmlformats-officedocument.presentationml.slideLayout+xml"/>
  <Override PartName="/ppt/slideLayouts/slideLayout1459.xml" ContentType="application/vnd.openxmlformats-officedocument.presentationml.slideLayout+xml"/>
  <Override PartName="/ppt/slideLayouts/slideLayout1460.xml" ContentType="application/vnd.openxmlformats-officedocument.presentationml.slideLayout+xml"/>
  <Override PartName="/ppt/slideLayouts/slideLayout1461.xml" ContentType="application/vnd.openxmlformats-officedocument.presentationml.slideLayout+xml"/>
  <Override PartName="/ppt/slideLayouts/slideLayout1462.xml" ContentType="application/vnd.openxmlformats-officedocument.presentationml.slideLayout+xml"/>
  <Override PartName="/ppt/slideLayouts/slideLayout1463.xml" ContentType="application/vnd.openxmlformats-officedocument.presentationml.slideLayout+xml"/>
  <Override PartName="/ppt/slideLayouts/slideLayout1464.xml" ContentType="application/vnd.openxmlformats-officedocument.presentationml.slideLayout+xml"/>
  <Override PartName="/ppt/slideLayouts/slideLayout1465.xml" ContentType="application/vnd.openxmlformats-officedocument.presentationml.slideLayout+xml"/>
  <Override PartName="/ppt/slideLayouts/slideLayout1466.xml" ContentType="application/vnd.openxmlformats-officedocument.presentationml.slideLayout+xml"/>
  <Override PartName="/ppt/slideLayouts/slideLayout1467.xml" ContentType="application/vnd.openxmlformats-officedocument.presentationml.slideLayout+xml"/>
  <Override PartName="/ppt/slideLayouts/slideLayout1468.xml" ContentType="application/vnd.openxmlformats-officedocument.presentationml.slideLayout+xml"/>
  <Override PartName="/ppt/slideLayouts/slideLayout1469.xml" ContentType="application/vnd.openxmlformats-officedocument.presentationml.slideLayout+xml"/>
  <Override PartName="/ppt/slideLayouts/slideLayout1470.xml" ContentType="application/vnd.openxmlformats-officedocument.presentationml.slideLayout+xml"/>
  <Override PartName="/ppt/slideLayouts/slideLayout1471.xml" ContentType="application/vnd.openxmlformats-officedocument.presentationml.slideLayout+xml"/>
  <Override PartName="/ppt/slideLayouts/slideLayout1472.xml" ContentType="application/vnd.openxmlformats-officedocument.presentationml.slideLayout+xml"/>
  <Override PartName="/ppt/slideLayouts/slideLayout1473.xml" ContentType="application/vnd.openxmlformats-officedocument.presentationml.slideLayout+xml"/>
  <Override PartName="/ppt/slideLayouts/slideLayout1474.xml" ContentType="application/vnd.openxmlformats-officedocument.presentationml.slideLayout+xml"/>
  <Override PartName="/ppt/slideLayouts/slideLayout1475.xml" ContentType="application/vnd.openxmlformats-officedocument.presentationml.slideLayout+xml"/>
  <Override PartName="/ppt/slideLayouts/slideLayout1476.xml" ContentType="application/vnd.openxmlformats-officedocument.presentationml.slideLayout+xml"/>
  <Override PartName="/ppt/slideLayouts/slideLayout1477.xml" ContentType="application/vnd.openxmlformats-officedocument.presentationml.slideLayout+xml"/>
  <Override PartName="/ppt/slideLayouts/slideLayout1478.xml" ContentType="application/vnd.openxmlformats-officedocument.presentationml.slideLayout+xml"/>
  <Override PartName="/ppt/slideLayouts/slideLayout1479.xml" ContentType="application/vnd.openxmlformats-officedocument.presentationml.slideLayout+xml"/>
  <Override PartName="/ppt/slideLayouts/slideLayout1480.xml" ContentType="application/vnd.openxmlformats-officedocument.presentationml.slideLayout+xml"/>
  <Override PartName="/ppt/slideLayouts/slideLayout1481.xml" ContentType="application/vnd.openxmlformats-officedocument.presentationml.slideLayout+xml"/>
  <Override PartName="/ppt/slideLayouts/slideLayout1482.xml" ContentType="application/vnd.openxmlformats-officedocument.presentationml.slideLayout+xml"/>
  <Override PartName="/ppt/slideLayouts/slideLayout1483.xml" ContentType="application/vnd.openxmlformats-officedocument.presentationml.slideLayout+xml"/>
  <Override PartName="/ppt/slideLayouts/slideLayout1484.xml" ContentType="application/vnd.openxmlformats-officedocument.presentationml.slideLayout+xml"/>
  <Override PartName="/ppt/slideLayouts/slideLayout1485.xml" ContentType="application/vnd.openxmlformats-officedocument.presentationml.slideLayout+xml"/>
  <Override PartName="/ppt/slideLayouts/slideLayout1486.xml" ContentType="application/vnd.openxmlformats-officedocument.presentationml.slideLayout+xml"/>
  <Override PartName="/ppt/slideLayouts/slideLayout1487.xml" ContentType="application/vnd.openxmlformats-officedocument.presentationml.slideLayout+xml"/>
  <Override PartName="/ppt/slideLayouts/slideLayout1488.xml" ContentType="application/vnd.openxmlformats-officedocument.presentationml.slideLayout+xml"/>
  <Override PartName="/ppt/slideLayouts/slideLayout1489.xml" ContentType="application/vnd.openxmlformats-officedocument.presentationml.slideLayout+xml"/>
  <Override PartName="/ppt/slideLayouts/slideLayout1490.xml" ContentType="application/vnd.openxmlformats-officedocument.presentationml.slideLayout+xml"/>
  <Override PartName="/ppt/slideLayouts/slideLayout1491.xml" ContentType="application/vnd.openxmlformats-officedocument.presentationml.slideLayout+xml"/>
  <Override PartName="/ppt/slideLayouts/slideLayout1492.xml" ContentType="application/vnd.openxmlformats-officedocument.presentationml.slideLayout+xml"/>
  <Override PartName="/ppt/slideLayouts/slideLayout1493.xml" ContentType="application/vnd.openxmlformats-officedocument.presentationml.slideLayout+xml"/>
  <Override PartName="/ppt/slideLayouts/slideLayout1494.xml" ContentType="application/vnd.openxmlformats-officedocument.presentationml.slideLayout+xml"/>
  <Override PartName="/ppt/slideLayouts/slideLayout1495.xml" ContentType="application/vnd.openxmlformats-officedocument.presentationml.slideLayout+xml"/>
  <Override PartName="/ppt/slideLayouts/slideLayout1496.xml" ContentType="application/vnd.openxmlformats-officedocument.presentationml.slideLayout+xml"/>
  <Override PartName="/ppt/slideLayouts/slideLayout1497.xml" ContentType="application/vnd.openxmlformats-officedocument.presentationml.slideLayout+xml"/>
  <Override PartName="/ppt/slideLayouts/slideLayout1498.xml" ContentType="application/vnd.openxmlformats-officedocument.presentationml.slideLayout+xml"/>
  <Override PartName="/ppt/slideLayouts/slideLayout1499.xml" ContentType="application/vnd.openxmlformats-officedocument.presentationml.slideLayout+xml"/>
  <Override PartName="/ppt/slideLayouts/slideLayout1500.xml" ContentType="application/vnd.openxmlformats-officedocument.presentationml.slideLayout+xml"/>
  <Override PartName="/ppt/slideLayouts/slideLayout1501.xml" ContentType="application/vnd.openxmlformats-officedocument.presentationml.slideLayout+xml"/>
  <Override PartName="/ppt/slideLayouts/slideLayout1502.xml" ContentType="application/vnd.openxmlformats-officedocument.presentationml.slideLayout+xml"/>
  <Override PartName="/ppt/slideLayouts/slideLayout1503.xml" ContentType="application/vnd.openxmlformats-officedocument.presentationml.slideLayout+xml"/>
  <Override PartName="/ppt/slideLayouts/slideLayout1504.xml" ContentType="application/vnd.openxmlformats-officedocument.presentationml.slideLayout+xml"/>
  <Override PartName="/ppt/slideLayouts/slideLayout1505.xml" ContentType="application/vnd.openxmlformats-officedocument.presentationml.slideLayout+xml"/>
  <Override PartName="/ppt/slideLayouts/slideLayout1506.xml" ContentType="application/vnd.openxmlformats-officedocument.presentationml.slideLayout+xml"/>
  <Override PartName="/ppt/slideLayouts/slideLayout1507.xml" ContentType="application/vnd.openxmlformats-officedocument.presentationml.slideLayout+xml"/>
  <Override PartName="/ppt/slideLayouts/slideLayout1508.xml" ContentType="application/vnd.openxmlformats-officedocument.presentationml.slideLayout+xml"/>
  <Override PartName="/ppt/slideLayouts/slideLayout1509.xml" ContentType="application/vnd.openxmlformats-officedocument.presentationml.slideLayout+xml"/>
  <Override PartName="/ppt/slideLayouts/slideLayout1510.xml" ContentType="application/vnd.openxmlformats-officedocument.presentationml.slideLayout+xml"/>
  <Override PartName="/ppt/slideLayouts/slideLayout1511.xml" ContentType="application/vnd.openxmlformats-officedocument.presentationml.slideLayout+xml"/>
  <Override PartName="/ppt/slideLayouts/slideLayout1512.xml" ContentType="application/vnd.openxmlformats-officedocument.presentationml.slideLayout+xml"/>
  <Override PartName="/ppt/slideLayouts/slideLayout1513.xml" ContentType="application/vnd.openxmlformats-officedocument.presentationml.slideLayout+xml"/>
  <Override PartName="/ppt/slideLayouts/slideLayout1514.xml" ContentType="application/vnd.openxmlformats-officedocument.presentationml.slideLayout+xml"/>
  <Override PartName="/ppt/slideLayouts/slideLayout1515.xml" ContentType="application/vnd.openxmlformats-officedocument.presentationml.slideLayout+xml"/>
  <Override PartName="/ppt/slideLayouts/slideLayout1516.xml" ContentType="application/vnd.openxmlformats-officedocument.presentationml.slideLayout+xml"/>
  <Override PartName="/ppt/slideLayouts/slideLayout1517.xml" ContentType="application/vnd.openxmlformats-officedocument.presentationml.slideLayout+xml"/>
  <Override PartName="/ppt/slideLayouts/slideLayout1518.xml" ContentType="application/vnd.openxmlformats-officedocument.presentationml.slideLayout+xml"/>
  <Override PartName="/ppt/slideLayouts/slideLayout1519.xml" ContentType="application/vnd.openxmlformats-officedocument.presentationml.slideLayout+xml"/>
  <Override PartName="/ppt/slideLayouts/slideLayout1520.xml" ContentType="application/vnd.openxmlformats-officedocument.presentationml.slideLayout+xml"/>
  <Override PartName="/ppt/slideLayouts/slideLayout1521.xml" ContentType="application/vnd.openxmlformats-officedocument.presentationml.slideLayout+xml"/>
  <Override PartName="/ppt/slideLayouts/slideLayout1522.xml" ContentType="application/vnd.openxmlformats-officedocument.presentationml.slideLayout+xml"/>
  <Override PartName="/ppt/slideLayouts/slideLayout1523.xml" ContentType="application/vnd.openxmlformats-officedocument.presentationml.slideLayout+xml"/>
  <Override PartName="/ppt/slideLayouts/slideLayout1524.xml" ContentType="application/vnd.openxmlformats-officedocument.presentationml.slideLayout+xml"/>
  <Override PartName="/ppt/slideLayouts/slideLayout1525.xml" ContentType="application/vnd.openxmlformats-officedocument.presentationml.slideLayout+xml"/>
  <Override PartName="/ppt/slideLayouts/slideLayout1526.xml" ContentType="application/vnd.openxmlformats-officedocument.presentationml.slideLayout+xml"/>
  <Override PartName="/ppt/slideLayouts/slideLayout1527.xml" ContentType="application/vnd.openxmlformats-officedocument.presentationml.slideLayout+xml"/>
  <Override PartName="/ppt/slideLayouts/slideLayout1528.xml" ContentType="application/vnd.openxmlformats-officedocument.presentationml.slideLayout+xml"/>
  <Override PartName="/ppt/slideLayouts/slideLayout1529.xml" ContentType="application/vnd.openxmlformats-officedocument.presentationml.slideLayout+xml"/>
  <Override PartName="/ppt/slideLayouts/slideLayout1530.xml" ContentType="application/vnd.openxmlformats-officedocument.presentationml.slideLayout+xml"/>
  <Override PartName="/ppt/slideLayouts/slideLayout1531.xml" ContentType="application/vnd.openxmlformats-officedocument.presentationml.slideLayout+xml"/>
  <Override PartName="/ppt/slideLayouts/slideLayout1532.xml" ContentType="application/vnd.openxmlformats-officedocument.presentationml.slideLayout+xml"/>
  <Override PartName="/ppt/theme/theme7.xml" ContentType="application/vnd.openxmlformats-officedocument.theme+xml"/>
  <Override PartName="/ppt/slideLayouts/slideLayout1533.xml" ContentType="application/vnd.openxmlformats-officedocument.presentationml.slideLayout+xml"/>
  <Override PartName="/ppt/slideLayouts/slideLayout1534.xml" ContentType="application/vnd.openxmlformats-officedocument.presentationml.slideLayout+xml"/>
  <Override PartName="/ppt/slideLayouts/slideLayout1535.xml" ContentType="application/vnd.openxmlformats-officedocument.presentationml.slideLayout+xml"/>
  <Override PartName="/ppt/slideLayouts/slideLayout1536.xml" ContentType="application/vnd.openxmlformats-officedocument.presentationml.slideLayout+xml"/>
  <Override PartName="/ppt/slideLayouts/slideLayout1537.xml" ContentType="application/vnd.openxmlformats-officedocument.presentationml.slideLayout+xml"/>
  <Override PartName="/ppt/slideLayouts/slideLayout1538.xml" ContentType="application/vnd.openxmlformats-officedocument.presentationml.slideLayout+xml"/>
  <Override PartName="/ppt/slideLayouts/slideLayout1539.xml" ContentType="application/vnd.openxmlformats-officedocument.presentationml.slideLayout+xml"/>
  <Override PartName="/ppt/slideLayouts/slideLayout1540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  <p:sldMasterId id="2147483921" r:id="rId2"/>
    <p:sldMasterId id="2147484071" r:id="rId3"/>
    <p:sldMasterId id="2147484578" r:id="rId4"/>
    <p:sldMasterId id="2147484728" r:id="rId5"/>
    <p:sldMasterId id="2147485237" r:id="rId6"/>
    <p:sldMasterId id="2147486149" r:id="rId7"/>
    <p:sldMasterId id="2147483706" r:id="rId8"/>
  </p:sldMasterIdLst>
  <p:notesMasterIdLst>
    <p:notesMasterId r:id="rId64"/>
  </p:notesMasterIdLst>
  <p:sldIdLst>
    <p:sldId id="256" r:id="rId9"/>
    <p:sldId id="257" r:id="rId10"/>
    <p:sldId id="258" r:id="rId11"/>
    <p:sldId id="259" r:id="rId12"/>
    <p:sldId id="260" r:id="rId13"/>
    <p:sldId id="261" r:id="rId14"/>
    <p:sldId id="262" r:id="rId15"/>
    <p:sldId id="263" r:id="rId16"/>
    <p:sldId id="264" r:id="rId17"/>
    <p:sldId id="265" r:id="rId18"/>
    <p:sldId id="266" r:id="rId19"/>
    <p:sldId id="267" r:id="rId20"/>
    <p:sldId id="268" r:id="rId21"/>
    <p:sldId id="302" r:id="rId22"/>
    <p:sldId id="269" r:id="rId23"/>
    <p:sldId id="305" r:id="rId24"/>
    <p:sldId id="299" r:id="rId25"/>
    <p:sldId id="301" r:id="rId26"/>
    <p:sldId id="300" r:id="rId27"/>
    <p:sldId id="304" r:id="rId28"/>
    <p:sldId id="270" r:id="rId29"/>
    <p:sldId id="271" r:id="rId30"/>
    <p:sldId id="272" r:id="rId31"/>
    <p:sldId id="273" r:id="rId32"/>
    <p:sldId id="274" r:id="rId33"/>
    <p:sldId id="275" r:id="rId34"/>
    <p:sldId id="276" r:id="rId35"/>
    <p:sldId id="277" r:id="rId36"/>
    <p:sldId id="278" r:id="rId37"/>
    <p:sldId id="279" r:id="rId38"/>
    <p:sldId id="303" r:id="rId39"/>
    <p:sldId id="280" r:id="rId40"/>
    <p:sldId id="281" r:id="rId41"/>
    <p:sldId id="312" r:id="rId42"/>
    <p:sldId id="311" r:id="rId43"/>
    <p:sldId id="310" r:id="rId44"/>
    <p:sldId id="309" r:id="rId45"/>
    <p:sldId id="308" r:id="rId46"/>
    <p:sldId id="307" r:id="rId47"/>
    <p:sldId id="306" r:id="rId48"/>
    <p:sldId id="282" r:id="rId49"/>
    <p:sldId id="283" r:id="rId50"/>
    <p:sldId id="284" r:id="rId51"/>
    <p:sldId id="285" r:id="rId52"/>
    <p:sldId id="286" r:id="rId53"/>
    <p:sldId id="287" r:id="rId54"/>
    <p:sldId id="288" r:id="rId55"/>
    <p:sldId id="291" r:id="rId56"/>
    <p:sldId id="292" r:id="rId57"/>
    <p:sldId id="293" r:id="rId58"/>
    <p:sldId id="294" r:id="rId59"/>
    <p:sldId id="295" r:id="rId60"/>
    <p:sldId id="296" r:id="rId61"/>
    <p:sldId id="297" r:id="rId62"/>
    <p:sldId id="298" r:id="rId63"/>
  </p:sldIdLst>
  <p:sldSz cx="12192000" cy="6858000"/>
  <p:notesSz cx="6858000" cy="9144000"/>
  <p:embeddedFontLst>
    <p:embeddedFont>
      <p:font typeface="Calibri" panose="020F0502020204030204" pitchFamily="34" charset="0"/>
      <p:regular r:id="rId65"/>
      <p:bold r:id="rId66"/>
      <p:italic r:id="rId67"/>
      <p:boldItalic r:id="rId68"/>
    </p:embeddedFont>
    <p:embeddedFont>
      <p:font typeface="Helvetica Neue" panose="020B0604020202020204" charset="0"/>
      <p:regular r:id="rId69"/>
      <p:bold r:id="rId70"/>
      <p:italic r:id="rId71"/>
      <p:boldItalic r:id="rId7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73" roundtripDataSignature="AMtx7mjzHZNcu1lpKFd6J5Q3+hVaicrm3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889D96-B5E3-AFD0-1277-0CAEF59B8BD7}" v="20" dt="2023-09-18T15:44:14.903"/>
    <p1510:client id="{F046C23C-0C4B-2F39-85BA-D2CC8D14F2D5}" v="149" dt="2023-09-18T14:33:52.678"/>
  </p1510:revLst>
</p1510:revInfo>
</file>

<file path=ppt/tableStyles.xml><?xml version="1.0" encoding="utf-8"?>
<a:tblStyleLst xmlns:a="http://schemas.openxmlformats.org/drawingml/2006/main" def="{2A2AACC4-BC5C-41ED-89DF-36E88FAF409F}">
  <a:tblStyle styleId="{2A2AACC4-BC5C-41ED-89DF-36E88FAF409F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7E8ED"/>
          </a:solidFill>
        </a:fill>
      </a:tcStyle>
    </a:wholeTbl>
    <a:band1H>
      <a:tcTxStyle/>
      <a:tcStyle>
        <a:tcBdr/>
        <a:fill>
          <a:solidFill>
            <a:srgbClr val="CBCEDA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CBCEDA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FAE28FE5-ADFB-493B-96D8-CF13C96B4433}" styleName="Table_1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DECEA"/>
          </a:solidFill>
        </a:fill>
      </a:tcStyle>
    </a:wholeTbl>
    <a:band1H>
      <a:tcTxStyle/>
      <a:tcStyle>
        <a:tcBdr/>
        <a:fill>
          <a:solidFill>
            <a:srgbClr val="FBD8D2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FBD8D2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3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3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780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font" Target="fonts/font4.fntdata"/><Relationship Id="rId16" Type="http://schemas.openxmlformats.org/officeDocument/2006/relationships/slide" Target="slides/slide8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66" Type="http://schemas.openxmlformats.org/officeDocument/2006/relationships/font" Target="fonts/font2.fntdata"/><Relationship Id="rId74" Type="http://schemas.openxmlformats.org/officeDocument/2006/relationships/presProps" Target="presProps.xml"/><Relationship Id="rId79" Type="http://schemas.microsoft.com/office/2015/10/relationships/revisionInfo" Target="revisionInfo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3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slide" Target="slides/slide48.xml"/><Relationship Id="rId64" Type="http://schemas.openxmlformats.org/officeDocument/2006/relationships/notesMaster" Target="notesMasters/notesMaster1.xml"/><Relationship Id="rId69" Type="http://schemas.openxmlformats.org/officeDocument/2006/relationships/font" Target="fonts/font5.fntdata"/><Relationship Id="rId77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3.xml"/><Relationship Id="rId72" Type="http://schemas.openxmlformats.org/officeDocument/2006/relationships/font" Target="fonts/font8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slide" Target="slides/slide51.xml"/><Relationship Id="rId67" Type="http://schemas.openxmlformats.org/officeDocument/2006/relationships/font" Target="fonts/font3.fntdata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slide" Target="slides/slide54.xml"/><Relationship Id="rId70" Type="http://schemas.openxmlformats.org/officeDocument/2006/relationships/font" Target="fonts/font6.fntdata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slide" Target="slides/slide49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slide" Target="slides/slide52.xml"/><Relationship Id="rId65" Type="http://schemas.openxmlformats.org/officeDocument/2006/relationships/font" Target="fonts/font1.fntdata"/><Relationship Id="rId73" Type="http://customschemas.google.com/relationships/presentationmetadata" Target="metadata"/><Relationship Id="rId78" Type="http://schemas.microsoft.com/office/2016/11/relationships/changesInfo" Target="changesInfos/changesInfo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6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71" Type="http://schemas.openxmlformats.org/officeDocument/2006/relationships/font" Target="fonts/font7.fntdata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ena Lida Surenian" userId="S::als0813@ads.northwestern.edu::e2fd0e4e-6417-49b0-ab16-0ba26a1719f0" providerId="AD" clId="Web-{F046C23C-0C4B-2F39-85BA-D2CC8D14F2D5}"/>
    <pc:docChg chg="addSld delSld modSld sldOrd addMainMaster modMainMaster">
      <pc:chgData name="Aleena Lida Surenian" userId="S::als0813@ads.northwestern.edu::e2fd0e4e-6417-49b0-ab16-0ba26a1719f0" providerId="AD" clId="Web-{F046C23C-0C4B-2F39-85BA-D2CC8D14F2D5}" dt="2023-09-18T14:33:52.678" v="125" actId="14100"/>
      <pc:docMkLst>
        <pc:docMk/>
      </pc:docMkLst>
      <pc:sldChg chg="modSp">
        <pc:chgData name="Aleena Lida Surenian" userId="S::als0813@ads.northwestern.edu::e2fd0e4e-6417-49b0-ab16-0ba26a1719f0" providerId="AD" clId="Web-{F046C23C-0C4B-2F39-85BA-D2CC8D14F2D5}" dt="2023-09-18T13:24:07.224" v="4" actId="14100"/>
        <pc:sldMkLst>
          <pc:docMk/>
          <pc:sldMk cId="0" sldId="260"/>
        </pc:sldMkLst>
        <pc:spChg chg="mod">
          <ac:chgData name="Aleena Lida Surenian" userId="S::als0813@ads.northwestern.edu::e2fd0e4e-6417-49b0-ab16-0ba26a1719f0" providerId="AD" clId="Web-{F046C23C-0C4B-2F39-85BA-D2CC8D14F2D5}" dt="2023-09-18T13:24:07.224" v="4" actId="14100"/>
          <ac:spMkLst>
            <pc:docMk/>
            <pc:sldMk cId="0" sldId="260"/>
            <ac:spMk id="11057" creationId="{00000000-0000-0000-0000-000000000000}"/>
          </ac:spMkLst>
        </pc:spChg>
        <pc:spChg chg="mod">
          <ac:chgData name="Aleena Lida Surenian" userId="S::als0813@ads.northwestern.edu::e2fd0e4e-6417-49b0-ab16-0ba26a1719f0" providerId="AD" clId="Web-{F046C23C-0C4B-2F39-85BA-D2CC8D14F2D5}" dt="2023-09-18T13:24:02.490" v="3" actId="1076"/>
          <ac:spMkLst>
            <pc:docMk/>
            <pc:sldMk cId="0" sldId="260"/>
            <ac:spMk id="11063" creationId="{00000000-0000-0000-0000-000000000000}"/>
          </ac:spMkLst>
        </pc:spChg>
        <pc:spChg chg="mod">
          <ac:chgData name="Aleena Lida Surenian" userId="S::als0813@ads.northwestern.edu::e2fd0e4e-6417-49b0-ab16-0ba26a1719f0" providerId="AD" clId="Web-{F046C23C-0C4B-2F39-85BA-D2CC8D14F2D5}" dt="2023-09-18T13:23:49.177" v="1" actId="1076"/>
          <ac:spMkLst>
            <pc:docMk/>
            <pc:sldMk cId="0" sldId="260"/>
            <ac:spMk id="11071" creationId="{00000000-0000-0000-0000-000000000000}"/>
          </ac:spMkLst>
        </pc:spChg>
      </pc:sldChg>
      <pc:sldChg chg="addSp delSp modSp add del">
        <pc:chgData name="Aleena Lida Surenian" userId="S::als0813@ads.northwestern.edu::e2fd0e4e-6417-49b0-ab16-0ba26a1719f0" providerId="AD" clId="Web-{F046C23C-0C4B-2F39-85BA-D2CC8D14F2D5}" dt="2023-09-18T13:51:47.768" v="67" actId="1076"/>
        <pc:sldMkLst>
          <pc:docMk/>
          <pc:sldMk cId="0" sldId="279"/>
        </pc:sldMkLst>
        <pc:spChg chg="mod">
          <ac:chgData name="Aleena Lida Surenian" userId="S::als0813@ads.northwestern.edu::e2fd0e4e-6417-49b0-ab16-0ba26a1719f0" providerId="AD" clId="Web-{F046C23C-0C4B-2F39-85BA-D2CC8D14F2D5}" dt="2023-09-18T13:51:36.955" v="61" actId="20577"/>
          <ac:spMkLst>
            <pc:docMk/>
            <pc:sldMk cId="0" sldId="279"/>
            <ac:spMk id="11285" creationId="{00000000-0000-0000-0000-000000000000}"/>
          </ac:spMkLst>
        </pc:spChg>
        <pc:picChg chg="add mod">
          <ac:chgData name="Aleena Lida Surenian" userId="S::als0813@ads.northwestern.edu::e2fd0e4e-6417-49b0-ab16-0ba26a1719f0" providerId="AD" clId="Web-{F046C23C-0C4B-2F39-85BA-D2CC8D14F2D5}" dt="2023-09-18T13:51:47.768" v="67" actId="1076"/>
          <ac:picMkLst>
            <pc:docMk/>
            <pc:sldMk cId="0" sldId="279"/>
            <ac:picMk id="2" creationId="{4BCC6993-871E-C8DB-3561-746889FE0B68}"/>
          </ac:picMkLst>
        </pc:picChg>
        <pc:picChg chg="del">
          <ac:chgData name="Aleena Lida Surenian" userId="S::als0813@ads.northwestern.edu::e2fd0e4e-6417-49b0-ab16-0ba26a1719f0" providerId="AD" clId="Web-{F046C23C-0C4B-2F39-85BA-D2CC8D14F2D5}" dt="2023-09-18T13:51:37.971" v="62"/>
          <ac:picMkLst>
            <pc:docMk/>
            <pc:sldMk cId="0" sldId="279"/>
            <ac:picMk id="11288" creationId="{00000000-0000-0000-0000-000000000000}"/>
          </ac:picMkLst>
        </pc:picChg>
      </pc:sldChg>
      <pc:sldChg chg="modSp">
        <pc:chgData name="Aleena Lida Surenian" userId="S::als0813@ads.northwestern.edu::e2fd0e4e-6417-49b0-ab16-0ba26a1719f0" providerId="AD" clId="Web-{F046C23C-0C4B-2F39-85BA-D2CC8D14F2D5}" dt="2023-09-18T14:05:28.789" v="112" actId="1076"/>
        <pc:sldMkLst>
          <pc:docMk/>
          <pc:sldMk cId="0" sldId="280"/>
        </pc:sldMkLst>
        <pc:spChg chg="mod">
          <ac:chgData name="Aleena Lida Surenian" userId="S::als0813@ads.northwestern.edu::e2fd0e4e-6417-49b0-ab16-0ba26a1719f0" providerId="AD" clId="Web-{F046C23C-0C4B-2F39-85BA-D2CC8D14F2D5}" dt="2023-09-18T14:05:20.180" v="110" actId="1076"/>
          <ac:spMkLst>
            <pc:docMk/>
            <pc:sldMk cId="0" sldId="280"/>
            <ac:spMk id="11294" creationId="{00000000-0000-0000-0000-000000000000}"/>
          </ac:spMkLst>
        </pc:spChg>
        <pc:grpChg chg="mod">
          <ac:chgData name="Aleena Lida Surenian" userId="S::als0813@ads.northwestern.edu::e2fd0e4e-6417-49b0-ab16-0ba26a1719f0" providerId="AD" clId="Web-{F046C23C-0C4B-2F39-85BA-D2CC8D14F2D5}" dt="2023-09-18T14:05:28.789" v="112" actId="1076"/>
          <ac:grpSpMkLst>
            <pc:docMk/>
            <pc:sldMk cId="0" sldId="280"/>
            <ac:grpSpMk id="11298" creationId="{00000000-0000-0000-0000-000000000000}"/>
          </ac:grpSpMkLst>
        </pc:grpChg>
      </pc:sldChg>
      <pc:sldChg chg="modSp">
        <pc:chgData name="Aleena Lida Surenian" userId="S::als0813@ads.northwestern.edu::e2fd0e4e-6417-49b0-ab16-0ba26a1719f0" providerId="AD" clId="Web-{F046C23C-0C4B-2F39-85BA-D2CC8D14F2D5}" dt="2023-09-18T14:33:52.678" v="125" actId="14100"/>
        <pc:sldMkLst>
          <pc:docMk/>
          <pc:sldMk cId="0" sldId="292"/>
        </pc:sldMkLst>
        <pc:spChg chg="mod">
          <ac:chgData name="Aleena Lida Surenian" userId="S::als0813@ads.northwestern.edu::e2fd0e4e-6417-49b0-ab16-0ba26a1719f0" providerId="AD" clId="Web-{F046C23C-0C4B-2F39-85BA-D2CC8D14F2D5}" dt="2023-09-18T14:33:52.678" v="125" actId="14100"/>
          <ac:spMkLst>
            <pc:docMk/>
            <pc:sldMk cId="0" sldId="292"/>
            <ac:spMk id="11455" creationId="{00000000-0000-0000-0000-000000000000}"/>
          </ac:spMkLst>
        </pc:spChg>
      </pc:sldChg>
      <pc:sldChg chg="modSp add">
        <pc:chgData name="Aleena Lida Surenian" userId="S::als0813@ads.northwestern.edu::e2fd0e4e-6417-49b0-ab16-0ba26a1719f0" providerId="AD" clId="Web-{F046C23C-0C4B-2F39-85BA-D2CC8D14F2D5}" dt="2023-09-18T13:41:08.564" v="54" actId="20577"/>
        <pc:sldMkLst>
          <pc:docMk/>
          <pc:sldMk cId="2209484281" sldId="300"/>
        </pc:sldMkLst>
        <pc:spChg chg="mod">
          <ac:chgData name="Aleena Lida Surenian" userId="S::als0813@ads.northwestern.edu::e2fd0e4e-6417-49b0-ab16-0ba26a1719f0" providerId="AD" clId="Web-{F046C23C-0C4B-2F39-85BA-D2CC8D14F2D5}" dt="2023-09-18T13:41:08.564" v="54" actId="20577"/>
          <ac:spMkLst>
            <pc:docMk/>
            <pc:sldMk cId="2209484281" sldId="300"/>
            <ac:spMk id="3" creationId="{4095BF62-A829-4AFB-B5FD-885597C79D77}"/>
          </ac:spMkLst>
        </pc:spChg>
      </pc:sldChg>
      <pc:sldChg chg="modSp add">
        <pc:chgData name="Aleena Lida Surenian" userId="S::als0813@ads.northwestern.edu::e2fd0e4e-6417-49b0-ab16-0ba26a1719f0" providerId="AD" clId="Web-{F046C23C-0C4B-2F39-85BA-D2CC8D14F2D5}" dt="2023-09-18T13:41:40.814" v="56" actId="20577"/>
        <pc:sldMkLst>
          <pc:docMk/>
          <pc:sldMk cId="2588130260" sldId="301"/>
        </pc:sldMkLst>
        <pc:spChg chg="mod">
          <ac:chgData name="Aleena Lida Surenian" userId="S::als0813@ads.northwestern.edu::e2fd0e4e-6417-49b0-ab16-0ba26a1719f0" providerId="AD" clId="Web-{F046C23C-0C4B-2F39-85BA-D2CC8D14F2D5}" dt="2023-09-18T13:41:40.814" v="56" actId="20577"/>
          <ac:spMkLst>
            <pc:docMk/>
            <pc:sldMk cId="2588130260" sldId="301"/>
            <ac:spMk id="3" creationId="{C13AEF27-84A3-4C8F-AADA-6DA6F2EC177A}"/>
          </ac:spMkLst>
        </pc:spChg>
      </pc:sldChg>
      <pc:sldChg chg="addSp delSp modSp new">
        <pc:chgData name="Aleena Lida Surenian" userId="S::als0813@ads.northwestern.edu::e2fd0e4e-6417-49b0-ab16-0ba26a1719f0" providerId="AD" clId="Web-{F046C23C-0C4B-2F39-85BA-D2CC8D14F2D5}" dt="2023-09-18T13:37:49.902" v="27" actId="1076"/>
        <pc:sldMkLst>
          <pc:docMk/>
          <pc:sldMk cId="3484560623" sldId="302"/>
        </pc:sldMkLst>
        <pc:spChg chg="mod">
          <ac:chgData name="Aleena Lida Surenian" userId="S::als0813@ads.northwestern.edu::e2fd0e4e-6417-49b0-ab16-0ba26a1719f0" providerId="AD" clId="Web-{F046C23C-0C4B-2F39-85BA-D2CC8D14F2D5}" dt="2023-09-18T13:37:33.511" v="22" actId="20577"/>
          <ac:spMkLst>
            <pc:docMk/>
            <pc:sldMk cId="3484560623" sldId="302"/>
            <ac:spMk id="2" creationId="{DFAF9A2E-100A-07B4-D850-C7BDBD3BE291}"/>
          </ac:spMkLst>
        </pc:spChg>
        <pc:spChg chg="del">
          <ac:chgData name="Aleena Lida Surenian" userId="S::als0813@ads.northwestern.edu::e2fd0e4e-6417-49b0-ab16-0ba26a1719f0" providerId="AD" clId="Web-{F046C23C-0C4B-2F39-85BA-D2CC8D14F2D5}" dt="2023-09-18T13:37:40.839" v="24"/>
          <ac:spMkLst>
            <pc:docMk/>
            <pc:sldMk cId="3484560623" sldId="302"/>
            <ac:spMk id="3" creationId="{20E6DC87-839C-F5C9-C0CD-35DB073F8BF8}"/>
          </ac:spMkLst>
        </pc:spChg>
        <pc:picChg chg="add mod">
          <ac:chgData name="Aleena Lida Surenian" userId="S::als0813@ads.northwestern.edu::e2fd0e4e-6417-49b0-ab16-0ba26a1719f0" providerId="AD" clId="Web-{F046C23C-0C4B-2F39-85BA-D2CC8D14F2D5}" dt="2023-09-18T13:37:49.902" v="27" actId="1076"/>
          <ac:picMkLst>
            <pc:docMk/>
            <pc:sldMk cId="3484560623" sldId="302"/>
            <ac:picMk id="5" creationId="{6A6917B4-76DA-9BF2-3219-B6C9B0ED66CF}"/>
          </ac:picMkLst>
        </pc:picChg>
      </pc:sldChg>
      <pc:sldChg chg="addSp delSp modSp new add del">
        <pc:chgData name="Aleena Lida Surenian" userId="S::als0813@ads.northwestern.edu::e2fd0e4e-6417-49b0-ab16-0ba26a1719f0" providerId="AD" clId="Web-{F046C23C-0C4B-2F39-85BA-D2CC8D14F2D5}" dt="2023-09-18T14:05:49.884" v="124" actId="1076"/>
        <pc:sldMkLst>
          <pc:docMk/>
          <pc:sldMk cId="1148754839" sldId="303"/>
        </pc:sldMkLst>
        <pc:spChg chg="mod">
          <ac:chgData name="Aleena Lida Surenian" userId="S::als0813@ads.northwestern.edu::e2fd0e4e-6417-49b0-ab16-0ba26a1719f0" providerId="AD" clId="Web-{F046C23C-0C4B-2F39-85BA-D2CC8D14F2D5}" dt="2023-09-18T14:05:49.884" v="124" actId="1076"/>
          <ac:spMkLst>
            <pc:docMk/>
            <pc:sldMk cId="1148754839" sldId="303"/>
            <ac:spMk id="2" creationId="{FF5F07D4-8774-0928-CF5B-14ABB160E59D}"/>
          </ac:spMkLst>
        </pc:spChg>
        <pc:spChg chg="del">
          <ac:chgData name="Aleena Lida Surenian" userId="S::als0813@ads.northwestern.edu::e2fd0e4e-6417-49b0-ab16-0ba26a1719f0" providerId="AD" clId="Web-{F046C23C-0C4B-2F39-85BA-D2CC8D14F2D5}" dt="2023-09-18T13:57:08.198" v="76"/>
          <ac:spMkLst>
            <pc:docMk/>
            <pc:sldMk cId="1148754839" sldId="303"/>
            <ac:spMk id="3" creationId="{63CD1245-728A-DFF3-3D02-8920AA905BAA}"/>
          </ac:spMkLst>
        </pc:spChg>
        <pc:picChg chg="add del mod">
          <ac:chgData name="Aleena Lida Surenian" userId="S::als0813@ads.northwestern.edu::e2fd0e4e-6417-49b0-ab16-0ba26a1719f0" providerId="AD" clId="Web-{F046C23C-0C4B-2F39-85BA-D2CC8D14F2D5}" dt="2023-09-18T14:04:50.851" v="102"/>
          <ac:picMkLst>
            <pc:docMk/>
            <pc:sldMk cId="1148754839" sldId="303"/>
            <ac:picMk id="5" creationId="{0B515228-35B5-99A7-7A2E-CFA9D9C130A7}"/>
          </ac:picMkLst>
        </pc:picChg>
        <pc:picChg chg="add mod">
          <ac:chgData name="Aleena Lida Surenian" userId="S::als0813@ads.northwestern.edu::e2fd0e4e-6417-49b0-ab16-0ba26a1719f0" providerId="AD" clId="Web-{F046C23C-0C4B-2F39-85BA-D2CC8D14F2D5}" dt="2023-09-18T14:04:51.991" v="106" actId="14100"/>
          <ac:picMkLst>
            <pc:docMk/>
            <pc:sldMk cId="1148754839" sldId="303"/>
            <ac:picMk id="6" creationId="{79A5CBCF-0E7F-AB1D-2F8E-623188C1C999}"/>
          </ac:picMkLst>
        </pc:picChg>
      </pc:sldChg>
      <pc:sldChg chg="modSp add">
        <pc:chgData name="Aleena Lida Surenian" userId="S::als0813@ads.northwestern.edu::e2fd0e4e-6417-49b0-ab16-0ba26a1719f0" providerId="AD" clId="Web-{F046C23C-0C4B-2F39-85BA-D2CC8D14F2D5}" dt="2023-09-18T14:00:40.454" v="84" actId="1076"/>
        <pc:sldMkLst>
          <pc:docMk/>
          <pc:sldMk cId="69769342" sldId="304"/>
        </pc:sldMkLst>
        <pc:spChg chg="mod">
          <ac:chgData name="Aleena Lida Surenian" userId="S::als0813@ads.northwestern.edu::e2fd0e4e-6417-49b0-ab16-0ba26a1719f0" providerId="AD" clId="Web-{F046C23C-0C4B-2F39-85BA-D2CC8D14F2D5}" dt="2023-09-18T14:00:40.454" v="84" actId="1076"/>
          <ac:spMkLst>
            <pc:docMk/>
            <pc:sldMk cId="69769342" sldId="304"/>
            <ac:spMk id="4223" creationId="{00000000-0000-0000-0000-000000000000}"/>
          </ac:spMkLst>
        </pc:spChg>
        <pc:spChg chg="mod">
          <ac:chgData name="Aleena Lida Surenian" userId="S::als0813@ads.northwestern.edu::e2fd0e4e-6417-49b0-ab16-0ba26a1719f0" providerId="AD" clId="Web-{F046C23C-0C4B-2F39-85BA-D2CC8D14F2D5}" dt="2023-09-18T14:00:39.360" v="82" actId="20577"/>
          <ac:spMkLst>
            <pc:docMk/>
            <pc:sldMk cId="69769342" sldId="304"/>
            <ac:spMk id="4235" creationId="{00000000-0000-0000-0000-000000000000}"/>
          </ac:spMkLst>
        </pc:spChg>
      </pc:sldChg>
      <pc:sldChg chg="addSp delSp modSp new ord">
        <pc:chgData name="Aleena Lida Surenian" userId="S::als0813@ads.northwestern.edu::e2fd0e4e-6417-49b0-ab16-0ba26a1719f0" providerId="AD" clId="Web-{F046C23C-0C4B-2F39-85BA-D2CC8D14F2D5}" dt="2023-09-18T14:03:29.411" v="96" actId="14100"/>
        <pc:sldMkLst>
          <pc:docMk/>
          <pc:sldMk cId="2818766849" sldId="305"/>
        </pc:sldMkLst>
        <pc:spChg chg="mod">
          <ac:chgData name="Aleena Lida Surenian" userId="S::als0813@ads.northwestern.edu::e2fd0e4e-6417-49b0-ab16-0ba26a1719f0" providerId="AD" clId="Web-{F046C23C-0C4B-2F39-85BA-D2CC8D14F2D5}" dt="2023-09-18T14:03:18.224" v="90" actId="14100"/>
          <ac:spMkLst>
            <pc:docMk/>
            <pc:sldMk cId="2818766849" sldId="305"/>
            <ac:spMk id="2" creationId="{806AE365-1794-6138-FD04-FDCE4C0B0CC0}"/>
          </ac:spMkLst>
        </pc:spChg>
        <pc:spChg chg="del">
          <ac:chgData name="Aleena Lida Surenian" userId="S::als0813@ads.northwestern.edu::e2fd0e4e-6417-49b0-ab16-0ba26a1719f0" providerId="AD" clId="Web-{F046C23C-0C4B-2F39-85BA-D2CC8D14F2D5}" dt="2023-09-18T14:03:24.145" v="92"/>
          <ac:spMkLst>
            <pc:docMk/>
            <pc:sldMk cId="2818766849" sldId="305"/>
            <ac:spMk id="3" creationId="{4F07F5A9-2107-7496-2619-D076A7711709}"/>
          </ac:spMkLst>
        </pc:spChg>
        <pc:picChg chg="add mod">
          <ac:chgData name="Aleena Lida Surenian" userId="S::als0813@ads.northwestern.edu::e2fd0e4e-6417-49b0-ab16-0ba26a1719f0" providerId="AD" clId="Web-{F046C23C-0C4B-2F39-85BA-D2CC8D14F2D5}" dt="2023-09-18T14:03:29.411" v="96" actId="14100"/>
          <ac:picMkLst>
            <pc:docMk/>
            <pc:sldMk cId="2818766849" sldId="305"/>
            <ac:picMk id="5" creationId="{8F9172AC-1019-A3CF-7CC8-9B283A9DD7CA}"/>
          </ac:picMkLst>
        </pc:picChg>
      </pc:sldChg>
      <pc:sldMasterChg chg="modSldLayout">
        <pc:chgData name="Aleena Lida Surenian" userId="S::als0813@ads.northwestern.edu::e2fd0e4e-6417-49b0-ab16-0ba26a1719f0" providerId="AD" clId="Web-{F046C23C-0C4B-2F39-85BA-D2CC8D14F2D5}" dt="2023-09-18T13:36:30.478" v="5"/>
        <pc:sldMasterMkLst>
          <pc:docMk/>
          <pc:sldMasterMk cId="0" sldId="2147483648"/>
        </pc:sldMasterMkLst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3648"/>
            <pc:sldLayoutMk cId="0" sldId="2147486060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3648"/>
            <pc:sldLayoutMk cId="0" sldId="2147486071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3648"/>
            <pc:sldLayoutMk cId="0" sldId="2147486079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3648"/>
            <pc:sldLayoutMk cId="0" sldId="2147486087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3648"/>
            <pc:sldLayoutMk cId="0" sldId="2147486088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3648"/>
            <pc:sldLayoutMk cId="0" sldId="2147486090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3648"/>
            <pc:sldLayoutMk cId="0" sldId="2147486091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3648"/>
            <pc:sldLayoutMk cId="0" sldId="2147486092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3648"/>
            <pc:sldLayoutMk cId="0" sldId="2147486109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3648"/>
            <pc:sldLayoutMk cId="0" sldId="2147486118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3648"/>
            <pc:sldLayoutMk cId="0" sldId="2147486136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3648"/>
            <pc:sldLayoutMk cId="0" sldId="2147486137"/>
          </pc:sldLayoutMkLst>
        </pc:sldLayoutChg>
      </pc:sldMasterChg>
      <pc:sldMasterChg chg="modSldLayout">
        <pc:chgData name="Aleena Lida Surenian" userId="S::als0813@ads.northwestern.edu::e2fd0e4e-6417-49b0-ab16-0ba26a1719f0" providerId="AD" clId="Web-{F046C23C-0C4B-2F39-85BA-D2CC8D14F2D5}" dt="2023-09-18T13:36:30.478" v="5"/>
        <pc:sldMasterMkLst>
          <pc:docMk/>
          <pc:sldMasterMk cId="0" sldId="2147484071"/>
        </pc:sldMasterMkLst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38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39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40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41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42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43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44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45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46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47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51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52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53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54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55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56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57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58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59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61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62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63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64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65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66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67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68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69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70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72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73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74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75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76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77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78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81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82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83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84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85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86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89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93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94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95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96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97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98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099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00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01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02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03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04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05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06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07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19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20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21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22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23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24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25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27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28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29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30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31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32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33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34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35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43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44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45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46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47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071"/>
            <pc:sldLayoutMk cId="0" sldId="2147486148"/>
          </pc:sldLayoutMkLst>
        </pc:sldLayoutChg>
      </pc:sldMasterChg>
      <pc:sldMasterChg chg="modSldLayout">
        <pc:chgData name="Aleena Lida Surenian" userId="S::als0813@ads.northwestern.edu::e2fd0e4e-6417-49b0-ab16-0ba26a1719f0" providerId="AD" clId="Web-{F046C23C-0C4B-2F39-85BA-D2CC8D14F2D5}" dt="2023-09-18T13:36:30.478" v="5"/>
        <pc:sldMasterMkLst>
          <pc:docMk/>
          <pc:sldMasterMk cId="0" sldId="2147484578"/>
        </pc:sldMasterMkLst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031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032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033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034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035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036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037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048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049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050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080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108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110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111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112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113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114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115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116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117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126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138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139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140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141"/>
          </pc:sldLayoutMkLst>
        </pc:sldLayoutChg>
        <pc:sldLayoutChg chg="replI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0" sldId="2147484578"/>
            <pc:sldLayoutMk cId="0" sldId="2147486142"/>
          </pc:sldLayoutMkLst>
        </pc:sldLayoutChg>
      </pc:sldMasterChg>
      <pc:sldMasterChg chg="add addSldLayout modSldLayout">
        <pc:chgData name="Aleena Lida Surenian" userId="S::als0813@ads.northwestern.edu::e2fd0e4e-6417-49b0-ab16-0ba26a1719f0" providerId="AD" clId="Web-{F046C23C-0C4B-2F39-85BA-D2CC8D14F2D5}" dt="2023-09-18T13:59:47.077" v="79"/>
        <pc:sldMasterMkLst>
          <pc:docMk/>
          <pc:sldMasterMk cId="3943894717" sldId="2147485237"/>
        </pc:sldMasterMkLst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709868767" sldId="214748371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91337409" sldId="214748371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075216660" sldId="214748371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476272431" sldId="214748371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480140117" sldId="214748372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629644005" sldId="214748386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993753234" sldId="214748387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430479694" sldId="214748387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980529727" sldId="214748388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709868767" sldId="214748420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91337409" sldId="214748420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075216660" sldId="214748420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476272431" sldId="214748420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998157548" sldId="214748420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480140117" sldId="214748420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069300124" sldId="214748420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657904224" sldId="214748422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630801759" sldId="214748423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059781530" sldId="214748423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998157548" sldId="214748423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059781530" sldId="214748423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630801759" sldId="214748423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91337409" sldId="214748424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998157548" sldId="214748426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075216660" sldId="214748426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075216660" sldId="214748426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709868767" sldId="214748426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09320368" sldId="214748432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610496501" sldId="214748433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410130633" sldId="214748433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698059872" sldId="214748433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630801759" sldId="214748433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709868767" sldId="214748433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998157548" sldId="214748433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91337409" sldId="214748433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075216660" sldId="214748434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476272431" sldId="214748434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069300124" sldId="214748434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480140117" sldId="214748434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059781530" sldId="214748434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402549073" sldId="214748435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253572214" sldId="214748435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939295337" sldId="214748435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437652033" sldId="214748435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546532180" sldId="214748435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437652033" sldId="214748435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4103439267" sldId="214748435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377496322" sldId="214748435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847879164" sldId="214748435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479302691" sldId="214748435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435420318" sldId="214748436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665852557" sldId="214748436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91337409" sldId="214748436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075216660" sldId="214748436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998157548" sldId="214748436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069300124" sldId="214748436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480140117" sldId="214748436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059781530" sldId="214748436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998157548" sldId="214748437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476272431" sldId="214748437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069300124" sldId="214748437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480140117" sldId="214748437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4291076637" sldId="214748438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781420108" sldId="214748438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09320368" sldId="214748438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838803846" sldId="214748438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546898753" sldId="214748438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210091495" sldId="214748438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314599787" sldId="214748439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791682188" sldId="214748439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98148766" sldId="214748439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926228292" sldId="214748439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138240366" sldId="214748439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476272431" sldId="214748440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069300124" sldId="214748440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480140117" sldId="214748440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630801759" sldId="214748447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709868767" sldId="214748447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91337409" sldId="214748448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476272431" sldId="214748448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069300124" sldId="214748448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480140117" sldId="214748448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059781530" sldId="214748448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610496501" sldId="214748448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410130633" sldId="214748448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980529727" sldId="214748455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72630080" sldId="214748456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083420" sldId="214748457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036500789" sldId="214748457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783658486" sldId="214748458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09320368" sldId="214748458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610496501" sldId="214748458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410130633" sldId="214748458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698059872" sldId="214748458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09320368" sldId="214748459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610496501" sldId="214748459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410130633" sldId="214748459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698059872" sldId="214748459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4291076637" sldId="214748459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781420108" sldId="214748459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210091495" sldId="214748460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314599787" sldId="214748460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791682188" sldId="214748460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98148766" sldId="214748460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516218680" sldId="214748460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430479694" sldId="214748460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698059872" sldId="214748460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979200564" sldId="214748462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732483557" sldId="214748462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926228292" sldId="214748463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138240366" sldId="214748463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448463225" sldId="214748465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988034496" sldId="214748465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410130633" sldId="214748465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698059872" sldId="214748465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09320368" sldId="214748481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610496501" sldId="214748481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410130633" sldId="214748481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698059872" sldId="214748481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630801759" sldId="214748482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059781530" sldId="214748482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758542806" sldId="214748482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967421487" sldId="214748483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983143663" sldId="214748483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803572776" sldId="214748483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4040902241" sldId="214748483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838803846" sldId="214748483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546898753" sldId="214748483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980529727" sldId="214748483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980529727" sldId="214748483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980529727" sldId="214748484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980529727" sldId="214748484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377496322" sldId="214748484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705532739" sldId="214748484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72630080" sldId="214748484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195676063" sldId="214748484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980529727" sldId="214748484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980529727" sldId="214748484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083420" sldId="214748484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588949313" sldId="214748485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036500789" sldId="214748485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422401269" sldId="214748485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980529727" sldId="214748485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082224325" sldId="214748485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610812348" sldId="214748485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546532180" sldId="214748485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980529727" sldId="214748485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630801759" sldId="214748506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709868767" sldId="214748506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91337409" sldId="214748506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075216660" sldId="214748506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476272431" sldId="214748506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998157548" sldId="214748506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480140117" sldId="214748507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069300124" sldId="214748507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657904224" sldId="214748507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4291076637" sldId="214748507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4040902241" sldId="214748507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781420108" sldId="214748507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979200564" sldId="214748507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838803846" sldId="214748507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546898753" sldId="214748507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210091495" sldId="214748508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314599787" sldId="214748508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791682188" sldId="214748508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98148766" sldId="214748508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195676063" sldId="214748509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287509848" sldId="214748517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728347992" sldId="214748521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29018680" sldId="214748521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287509848" sldId="214748521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069300124" sldId="214748523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998157548" sldId="214748523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339690513" sldId="214748526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630801759" sldId="214748527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709868767" sldId="214748527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998157548" sldId="214748527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91337409" sldId="214748527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075216660" sldId="214748527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476272431" sldId="214748527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069300124" sldId="214748527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480140117" sldId="214748527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059781530" sldId="214748527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979200564" sldId="214748535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036500789" sldId="214748535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72630080" sldId="214748535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980529727" sldId="214748535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610496501" sldId="214748536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410130633" sldId="214748536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698059872" sldId="214748536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09320368" sldId="214748537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069300124" sldId="214748538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630801759" sldId="214748539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709868767" sldId="214748539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980529727" sldId="214748539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91337409" sldId="214748539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075216660" sldId="214748539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059781530" sldId="214748539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09320368" sldId="214748540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610496501" sldId="214748540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410130633" sldId="214748540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698059872" sldId="214748540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4040902241" sldId="214748540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979200564" sldId="214748540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582254879" sldId="214748542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732483557" sldId="214748544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630801759" sldId="214748546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059781530" sldId="214748546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195676063" sldId="214748547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4291076637" sldId="214748584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4040902241" sldId="214748584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781420108" sldId="214748584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979200564" sldId="214748585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838803846" sldId="214748585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546898753" sldId="214748585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210091495" sldId="214748585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314599787" sldId="214748585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791682188" sldId="214748585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98148766" sldId="214748585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377496322" sldId="214748585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847879164" sldId="214748585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479302691" sldId="214748585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435420318" sldId="214748586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665852557" sldId="214748586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630801759" sldId="214748586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709868767" sldId="214748586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998157548" sldId="214748586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709868767" sldId="214748586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476272431" sldId="214748586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91337409" sldId="214748586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075216660" sldId="214748586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476272431" sldId="214748587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480140117" sldId="214748587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629644005" sldId="214748587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09320368" sldId="214748587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3610496501" sldId="214748587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4103439267" sldId="214748587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422401269" sldId="214748588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855494103" sldId="214748588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546532180" sldId="214748590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036500789" sldId="214748590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2422401269" sldId="214748590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980529727" sldId="214748590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36:30.478" v="5"/>
          <pc:sldLayoutMkLst>
            <pc:docMk/>
            <pc:sldMasterMk cId="3943894717" sldId="2147485237"/>
            <pc:sldLayoutMk cId="1059781530" sldId="2147486030"/>
          </pc:sldLayoutMkLst>
        </pc:sldLayoutChg>
        <pc:sldLayoutChg chg="add replI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3943894717" sldId="2147485237"/>
            <pc:sldLayoutMk cId="309320368" sldId="2147486178"/>
          </pc:sldLayoutMkLst>
        </pc:sldLayoutChg>
        <pc:sldLayoutChg chg="add replI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3943894717" sldId="2147485237"/>
            <pc:sldLayoutMk cId="2422401269" sldId="2147486183"/>
          </pc:sldLayoutMkLst>
        </pc:sldLayoutChg>
        <pc:sldLayoutChg chg="add replI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3943894717" sldId="2147485237"/>
            <pc:sldLayoutMk cId="980529727" sldId="2147486243"/>
          </pc:sldLayoutMkLst>
        </pc:sldLayoutChg>
      </pc:sldMasterChg>
      <pc:sldMasterChg chg="add addSldLayout">
        <pc:chgData name="Aleena Lida Surenian" userId="S::als0813@ads.northwestern.edu::e2fd0e4e-6417-49b0-ab16-0ba26a1719f0" providerId="AD" clId="Web-{F046C23C-0C4B-2F39-85BA-D2CC8D14F2D5}" dt="2023-09-18T13:59:47.077" v="79"/>
        <pc:sldMasterMkLst>
          <pc:docMk/>
          <pc:sldMasterMk cId="0" sldId="2147486149"/>
        </pc:sldMasterMkLst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367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368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374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5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5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5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5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5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5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5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5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5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5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6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6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6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6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6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6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6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6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6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6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7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7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7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7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7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7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7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7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7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8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8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8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8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8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8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8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8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8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9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9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9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9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9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9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9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9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9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19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0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0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0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0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0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0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0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0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0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0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1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1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1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1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1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1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1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1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1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1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2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2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2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2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2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2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2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2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2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2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3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3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3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3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3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3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3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3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3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3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4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4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4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4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4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4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4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4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4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5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5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5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5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5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5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5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5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5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5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6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6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6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6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6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6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6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6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6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6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7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7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7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7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7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7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7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7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7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7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8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8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8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8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8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8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8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8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8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8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9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9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9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9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9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9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9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9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9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29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0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0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0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0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0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0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0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0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0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0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1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1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1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1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1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1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1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1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1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1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2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2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2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2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2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2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2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2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2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2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3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3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3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3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3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3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36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37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38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39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40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41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42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43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44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45"/>
          </pc:sldLayoutMkLst>
        </pc:sldLayoutChg>
        <pc:sldLayoutChg chg="add">
          <pc:chgData name="Aleena Lida Surenian" userId="S::als0813@ads.northwestern.edu::e2fd0e4e-6417-49b0-ab16-0ba26a1719f0" providerId="AD" clId="Web-{F046C23C-0C4B-2F39-85BA-D2CC8D14F2D5}" dt="2023-09-18T13:59:47.077" v="79"/>
          <pc:sldLayoutMkLst>
            <pc:docMk/>
            <pc:sldMasterMk cId="0" sldId="2147486149"/>
            <pc:sldLayoutMk cId="0" sldId="2147486346"/>
          </pc:sldLayoutMkLst>
        </pc:sldLayoutChg>
      </pc:sldMasterChg>
    </pc:docChg>
  </pc:docChgLst>
  <pc:docChgLst>
    <pc:chgData name="Aleena Lida Surenian" userId="S::als0813@ads.northwestern.edu::e2fd0e4e-6417-49b0-ab16-0ba26a1719f0" providerId="AD" clId="Web-{4A889D96-B5E3-AFD0-1277-0CAEF59B8BD7}"/>
    <pc:docChg chg="addSld delSld modSld addMainMaster modMainMaster">
      <pc:chgData name="Aleena Lida Surenian" userId="S::als0813@ads.northwestern.edu::e2fd0e4e-6417-49b0-ab16-0ba26a1719f0" providerId="AD" clId="Web-{4A889D96-B5E3-AFD0-1277-0CAEF59B8BD7}" dt="2023-09-18T15:44:14.903" v="18"/>
      <pc:docMkLst>
        <pc:docMk/>
      </pc:docMkLst>
      <pc:sldChg chg="modSp">
        <pc:chgData name="Aleena Lida Surenian" userId="S::als0813@ads.northwestern.edu::e2fd0e4e-6417-49b0-ab16-0ba26a1719f0" providerId="AD" clId="Web-{4A889D96-B5E3-AFD0-1277-0CAEF59B8BD7}" dt="2023-09-18T15:39:30.043" v="9" actId="20577"/>
        <pc:sldMkLst>
          <pc:docMk/>
          <pc:sldMk cId="0" sldId="256"/>
        </pc:sldMkLst>
        <pc:spChg chg="mod">
          <ac:chgData name="Aleena Lida Surenian" userId="S::als0813@ads.northwestern.edu::e2fd0e4e-6417-49b0-ab16-0ba26a1719f0" providerId="AD" clId="Web-{4A889D96-B5E3-AFD0-1277-0CAEF59B8BD7}" dt="2023-09-18T15:39:30.043" v="9" actId="20577"/>
          <ac:spMkLst>
            <pc:docMk/>
            <pc:sldMk cId="0" sldId="256"/>
            <ac:spMk id="10993" creationId="{00000000-0000-0000-0000-000000000000}"/>
          </ac:spMkLst>
        </pc:spChg>
      </pc:sldChg>
      <pc:sldChg chg="del">
        <pc:chgData name="Aleena Lida Surenian" userId="S::als0813@ads.northwestern.edu::e2fd0e4e-6417-49b0-ab16-0ba26a1719f0" providerId="AD" clId="Web-{4A889D96-B5E3-AFD0-1277-0CAEF59B8BD7}" dt="2023-09-18T15:43:51.699" v="16"/>
        <pc:sldMkLst>
          <pc:docMk/>
          <pc:sldMk cId="0" sldId="289"/>
        </pc:sldMkLst>
      </pc:sldChg>
      <pc:sldChg chg="del">
        <pc:chgData name="Aleena Lida Surenian" userId="S::als0813@ads.northwestern.edu::e2fd0e4e-6417-49b0-ab16-0ba26a1719f0" providerId="AD" clId="Web-{4A889D96-B5E3-AFD0-1277-0CAEF59B8BD7}" dt="2023-09-18T15:44:14.903" v="18"/>
        <pc:sldMkLst>
          <pc:docMk/>
          <pc:sldMk cId="0" sldId="290"/>
        </pc:sldMkLst>
      </pc:sldChg>
      <pc:sldChg chg="add">
        <pc:chgData name="Aleena Lida Surenian" userId="S::als0813@ads.northwestern.edu::e2fd0e4e-6417-49b0-ab16-0ba26a1719f0" providerId="AD" clId="Web-{4A889D96-B5E3-AFD0-1277-0CAEF59B8BD7}" dt="2023-09-18T15:43:40.434" v="10"/>
        <pc:sldMkLst>
          <pc:docMk/>
          <pc:sldMk cId="989343882" sldId="306"/>
        </pc:sldMkLst>
      </pc:sldChg>
      <pc:sldChg chg="add">
        <pc:chgData name="Aleena Lida Surenian" userId="S::als0813@ads.northwestern.edu::e2fd0e4e-6417-49b0-ab16-0ba26a1719f0" providerId="AD" clId="Web-{4A889D96-B5E3-AFD0-1277-0CAEF59B8BD7}" dt="2023-09-18T15:43:40.590" v="11"/>
        <pc:sldMkLst>
          <pc:docMk/>
          <pc:sldMk cId="3491122342" sldId="307"/>
        </pc:sldMkLst>
      </pc:sldChg>
      <pc:sldChg chg="add">
        <pc:chgData name="Aleena Lida Surenian" userId="S::als0813@ads.northwestern.edu::e2fd0e4e-6417-49b0-ab16-0ba26a1719f0" providerId="AD" clId="Web-{4A889D96-B5E3-AFD0-1277-0CAEF59B8BD7}" dt="2023-09-18T15:43:40.715" v="12"/>
        <pc:sldMkLst>
          <pc:docMk/>
          <pc:sldMk cId="959836455" sldId="308"/>
        </pc:sldMkLst>
      </pc:sldChg>
      <pc:sldChg chg="add">
        <pc:chgData name="Aleena Lida Surenian" userId="S::als0813@ads.northwestern.edu::e2fd0e4e-6417-49b0-ab16-0ba26a1719f0" providerId="AD" clId="Web-{4A889D96-B5E3-AFD0-1277-0CAEF59B8BD7}" dt="2023-09-18T15:43:40.824" v="13"/>
        <pc:sldMkLst>
          <pc:docMk/>
          <pc:sldMk cId="675565070" sldId="309"/>
        </pc:sldMkLst>
      </pc:sldChg>
      <pc:sldChg chg="add">
        <pc:chgData name="Aleena Lida Surenian" userId="S::als0813@ads.northwestern.edu::e2fd0e4e-6417-49b0-ab16-0ba26a1719f0" providerId="AD" clId="Web-{4A889D96-B5E3-AFD0-1277-0CAEF59B8BD7}" dt="2023-09-18T15:43:40.965" v="14"/>
        <pc:sldMkLst>
          <pc:docMk/>
          <pc:sldMk cId="3309934044" sldId="310"/>
        </pc:sldMkLst>
      </pc:sldChg>
      <pc:sldChg chg="add">
        <pc:chgData name="Aleena Lida Surenian" userId="S::als0813@ads.northwestern.edu::e2fd0e4e-6417-49b0-ab16-0ba26a1719f0" providerId="AD" clId="Web-{4A889D96-B5E3-AFD0-1277-0CAEF59B8BD7}" dt="2023-09-18T15:43:41.090" v="15"/>
        <pc:sldMkLst>
          <pc:docMk/>
          <pc:sldMk cId="3549688472" sldId="311"/>
        </pc:sldMkLst>
      </pc:sldChg>
      <pc:sldChg chg="add">
        <pc:chgData name="Aleena Lida Surenian" userId="S::als0813@ads.northwestern.edu::e2fd0e4e-6417-49b0-ab16-0ba26a1719f0" providerId="AD" clId="Web-{4A889D96-B5E3-AFD0-1277-0CAEF59B8BD7}" dt="2023-09-18T15:44:00.496" v="17"/>
        <pc:sldMkLst>
          <pc:docMk/>
          <pc:sldMk cId="55174723" sldId="312"/>
        </pc:sldMkLst>
      </pc:sldChg>
      <pc:sldMasterChg chg="modSldLayout">
        <pc:chgData name="Aleena Lida Surenian" userId="S::als0813@ads.northwestern.edu::e2fd0e4e-6417-49b0-ab16-0ba26a1719f0" providerId="AD" clId="Web-{4A889D96-B5E3-AFD0-1277-0CAEF59B8BD7}" dt="2023-09-18T15:43:40.434" v="10"/>
        <pc:sldMasterMkLst>
          <pc:docMk/>
          <pc:sldMasterMk cId="0" sldId="2147483648"/>
        </pc:sldMasterMkLst>
        <pc:sldLayoutChg chg="replId">
          <pc:chgData name="Aleena Lida Surenian" userId="S::als0813@ads.northwestern.edu::e2fd0e4e-6417-49b0-ab16-0ba26a1719f0" providerId="AD" clId="Web-{4A889D96-B5E3-AFD0-1277-0CAEF59B8BD7}" dt="2023-09-18T15:43:40.434" v="10"/>
          <pc:sldLayoutMkLst>
            <pc:docMk/>
            <pc:sldMasterMk cId="0" sldId="2147483648"/>
            <pc:sldLayoutMk cId="0" sldId="2147486347"/>
          </pc:sldLayoutMkLst>
        </pc:sldLayoutChg>
        <pc:sldLayoutChg chg="replId">
          <pc:chgData name="Aleena Lida Surenian" userId="S::als0813@ads.northwestern.edu::e2fd0e4e-6417-49b0-ab16-0ba26a1719f0" providerId="AD" clId="Web-{4A889D96-B5E3-AFD0-1277-0CAEF59B8BD7}" dt="2023-09-18T15:43:40.434" v="10"/>
          <pc:sldLayoutMkLst>
            <pc:docMk/>
            <pc:sldMasterMk cId="0" sldId="2147483648"/>
            <pc:sldLayoutMk cId="0" sldId="2147486348"/>
          </pc:sldLayoutMkLst>
        </pc:sldLayoutChg>
        <pc:sldLayoutChg chg="replId">
          <pc:chgData name="Aleena Lida Surenian" userId="S::als0813@ads.northwestern.edu::e2fd0e4e-6417-49b0-ab16-0ba26a1719f0" providerId="AD" clId="Web-{4A889D96-B5E3-AFD0-1277-0CAEF59B8BD7}" dt="2023-09-18T15:43:40.434" v="10"/>
          <pc:sldLayoutMkLst>
            <pc:docMk/>
            <pc:sldMasterMk cId="0" sldId="2147483648"/>
            <pc:sldLayoutMk cId="0" sldId="2147486349"/>
          </pc:sldLayoutMkLst>
        </pc:sldLayoutChg>
        <pc:sldLayoutChg chg="replId">
          <pc:chgData name="Aleena Lida Surenian" userId="S::als0813@ads.northwestern.edu::e2fd0e4e-6417-49b0-ab16-0ba26a1719f0" providerId="AD" clId="Web-{4A889D96-B5E3-AFD0-1277-0CAEF59B8BD7}" dt="2023-09-18T15:43:40.434" v="10"/>
          <pc:sldLayoutMkLst>
            <pc:docMk/>
            <pc:sldMasterMk cId="0" sldId="2147483648"/>
            <pc:sldLayoutMk cId="0" sldId="2147486350"/>
          </pc:sldLayoutMkLst>
        </pc:sldLayoutChg>
        <pc:sldLayoutChg chg="replId">
          <pc:chgData name="Aleena Lida Surenian" userId="S::als0813@ads.northwestern.edu::e2fd0e4e-6417-49b0-ab16-0ba26a1719f0" providerId="AD" clId="Web-{4A889D96-B5E3-AFD0-1277-0CAEF59B8BD7}" dt="2023-09-18T15:43:40.434" v="10"/>
          <pc:sldLayoutMkLst>
            <pc:docMk/>
            <pc:sldMasterMk cId="0" sldId="2147483648"/>
            <pc:sldLayoutMk cId="0" sldId="2147486351"/>
          </pc:sldLayoutMkLst>
        </pc:sldLayoutChg>
        <pc:sldLayoutChg chg="replId">
          <pc:chgData name="Aleena Lida Surenian" userId="S::als0813@ads.northwestern.edu::e2fd0e4e-6417-49b0-ab16-0ba26a1719f0" providerId="AD" clId="Web-{4A889D96-B5E3-AFD0-1277-0CAEF59B8BD7}" dt="2023-09-18T15:43:40.434" v="10"/>
          <pc:sldLayoutMkLst>
            <pc:docMk/>
            <pc:sldMasterMk cId="0" sldId="2147483648"/>
            <pc:sldLayoutMk cId="0" sldId="2147486352"/>
          </pc:sldLayoutMkLst>
        </pc:sldLayoutChg>
        <pc:sldLayoutChg chg="replId">
          <pc:chgData name="Aleena Lida Surenian" userId="S::als0813@ads.northwestern.edu::e2fd0e4e-6417-49b0-ab16-0ba26a1719f0" providerId="AD" clId="Web-{4A889D96-B5E3-AFD0-1277-0CAEF59B8BD7}" dt="2023-09-18T15:43:40.434" v="10"/>
          <pc:sldLayoutMkLst>
            <pc:docMk/>
            <pc:sldMasterMk cId="0" sldId="2147483648"/>
            <pc:sldLayoutMk cId="0" sldId="2147486353"/>
          </pc:sldLayoutMkLst>
        </pc:sldLayoutChg>
        <pc:sldLayoutChg chg="replId">
          <pc:chgData name="Aleena Lida Surenian" userId="S::als0813@ads.northwestern.edu::e2fd0e4e-6417-49b0-ab16-0ba26a1719f0" providerId="AD" clId="Web-{4A889D96-B5E3-AFD0-1277-0CAEF59B8BD7}" dt="2023-09-18T15:43:40.434" v="10"/>
          <pc:sldLayoutMkLst>
            <pc:docMk/>
            <pc:sldMasterMk cId="0" sldId="2147483648"/>
            <pc:sldLayoutMk cId="0" sldId="2147486354"/>
          </pc:sldLayoutMkLst>
        </pc:sldLayoutChg>
        <pc:sldLayoutChg chg="replId">
          <pc:chgData name="Aleena Lida Surenian" userId="S::als0813@ads.northwestern.edu::e2fd0e4e-6417-49b0-ab16-0ba26a1719f0" providerId="AD" clId="Web-{4A889D96-B5E3-AFD0-1277-0CAEF59B8BD7}" dt="2023-09-18T15:43:40.434" v="10"/>
          <pc:sldLayoutMkLst>
            <pc:docMk/>
            <pc:sldMasterMk cId="0" sldId="2147483648"/>
            <pc:sldLayoutMk cId="0" sldId="2147486355"/>
          </pc:sldLayoutMkLst>
        </pc:sldLayoutChg>
      </pc:sldMasterChg>
      <pc:sldMasterChg chg="add addSldLayout">
        <pc:chgData name="Aleena Lida Surenian" userId="S::als0813@ads.northwestern.edu::e2fd0e4e-6417-49b0-ab16-0ba26a1719f0" providerId="AD" clId="Web-{4A889D96-B5E3-AFD0-1277-0CAEF59B8BD7}" dt="2023-09-18T15:43:40.434" v="10"/>
        <pc:sldMasterMkLst>
          <pc:docMk/>
          <pc:sldMasterMk cId="1105731913" sldId="2147483706"/>
        </pc:sldMasterMkLst>
        <pc:sldLayoutChg chg="add">
          <pc:chgData name="Aleena Lida Surenian" userId="S::als0813@ads.northwestern.edu::e2fd0e4e-6417-49b0-ab16-0ba26a1719f0" providerId="AD" clId="Web-{4A889D96-B5E3-AFD0-1277-0CAEF59B8BD7}" dt="2023-09-18T15:43:40.434" v="10"/>
          <pc:sldLayoutMkLst>
            <pc:docMk/>
            <pc:sldMasterMk cId="1105731913" sldId="2147483706"/>
            <pc:sldLayoutMk cId="389512105" sldId="2147483707"/>
          </pc:sldLayoutMkLst>
        </pc:sldLayoutChg>
        <pc:sldLayoutChg chg="add">
          <pc:chgData name="Aleena Lida Surenian" userId="S::als0813@ads.northwestern.edu::e2fd0e4e-6417-49b0-ab16-0ba26a1719f0" providerId="AD" clId="Web-{4A889D96-B5E3-AFD0-1277-0CAEF59B8BD7}" dt="2023-09-18T15:43:40.434" v="10"/>
          <pc:sldLayoutMkLst>
            <pc:docMk/>
            <pc:sldMasterMk cId="1105731913" sldId="2147483706"/>
            <pc:sldLayoutMk cId="3151710844" sldId="2147483708"/>
          </pc:sldLayoutMkLst>
        </pc:sldLayoutChg>
        <pc:sldLayoutChg chg="add">
          <pc:chgData name="Aleena Lida Surenian" userId="S::als0813@ads.northwestern.edu::e2fd0e4e-6417-49b0-ab16-0ba26a1719f0" providerId="AD" clId="Web-{4A889D96-B5E3-AFD0-1277-0CAEF59B8BD7}" dt="2023-09-18T15:43:40.434" v="10"/>
          <pc:sldLayoutMkLst>
            <pc:docMk/>
            <pc:sldMasterMk cId="1105731913" sldId="2147483706"/>
            <pc:sldLayoutMk cId="3106938703" sldId="2147483709"/>
          </pc:sldLayoutMkLst>
        </pc:sldLayoutChg>
        <pc:sldLayoutChg chg="add">
          <pc:chgData name="Aleena Lida Surenian" userId="S::als0813@ads.northwestern.edu::e2fd0e4e-6417-49b0-ab16-0ba26a1719f0" providerId="AD" clId="Web-{4A889D96-B5E3-AFD0-1277-0CAEF59B8BD7}" dt="2023-09-18T15:43:40.434" v="10"/>
          <pc:sldLayoutMkLst>
            <pc:docMk/>
            <pc:sldMasterMk cId="1105731913" sldId="2147483706"/>
            <pc:sldLayoutMk cId="1817558049" sldId="2147483710"/>
          </pc:sldLayoutMkLst>
        </pc:sldLayoutChg>
        <pc:sldLayoutChg chg="add">
          <pc:chgData name="Aleena Lida Surenian" userId="S::als0813@ads.northwestern.edu::e2fd0e4e-6417-49b0-ab16-0ba26a1719f0" providerId="AD" clId="Web-{4A889D96-B5E3-AFD0-1277-0CAEF59B8BD7}" dt="2023-09-18T15:43:40.434" v="10"/>
          <pc:sldLayoutMkLst>
            <pc:docMk/>
            <pc:sldMasterMk cId="1105731913" sldId="2147483706"/>
            <pc:sldLayoutMk cId="212408274" sldId="2147483711"/>
          </pc:sldLayoutMkLst>
        </pc:sldLayoutChg>
        <pc:sldLayoutChg chg="add">
          <pc:chgData name="Aleena Lida Surenian" userId="S::als0813@ads.northwestern.edu::e2fd0e4e-6417-49b0-ab16-0ba26a1719f0" providerId="AD" clId="Web-{4A889D96-B5E3-AFD0-1277-0CAEF59B8BD7}" dt="2023-09-18T15:43:40.434" v="10"/>
          <pc:sldLayoutMkLst>
            <pc:docMk/>
            <pc:sldMasterMk cId="1105731913" sldId="2147483706"/>
            <pc:sldLayoutMk cId="2265116039" sldId="2147483712"/>
          </pc:sldLayoutMkLst>
        </pc:sldLayoutChg>
        <pc:sldLayoutChg chg="add">
          <pc:chgData name="Aleena Lida Surenian" userId="S::als0813@ads.northwestern.edu::e2fd0e4e-6417-49b0-ab16-0ba26a1719f0" providerId="AD" clId="Web-{4A889D96-B5E3-AFD0-1277-0CAEF59B8BD7}" dt="2023-09-18T15:43:40.434" v="10"/>
          <pc:sldLayoutMkLst>
            <pc:docMk/>
            <pc:sldMasterMk cId="1105731913" sldId="2147483706"/>
            <pc:sldLayoutMk cId="3298499042" sldId="2147483713"/>
          </pc:sldLayoutMkLst>
        </pc:sldLayoutChg>
        <pc:sldLayoutChg chg="add">
          <pc:chgData name="Aleena Lida Surenian" userId="S::als0813@ads.northwestern.edu::e2fd0e4e-6417-49b0-ab16-0ba26a1719f0" providerId="AD" clId="Web-{4A889D96-B5E3-AFD0-1277-0CAEF59B8BD7}" dt="2023-09-18T15:43:40.434" v="10"/>
          <pc:sldLayoutMkLst>
            <pc:docMk/>
            <pc:sldMasterMk cId="1105731913" sldId="2147483706"/>
            <pc:sldLayoutMk cId="3583605796" sldId="2147483727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E%20Hospital%20Structure%20Measures%20Dat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Feeling pressured into accepting care I did not want or did not understand (strongly agree/agree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2346163795398035E-2"/>
          <c:y val="0.13822272616798631"/>
          <c:w val="0.93765383620460196"/>
          <c:h val="0.7635714347962069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BE Hospital Structure Measures Data.xlsx]SMFM'!$A$41</c:f>
              <c:strCache>
                <c:ptCount val="1"/>
                <c:pt idx="0">
                  <c:v>Q3/Q4 202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BE Hospital Structure Measures Data.xlsx]SMFM'!$B$40:$E$40</c:f>
              <c:strCache>
                <c:ptCount val="4"/>
                <c:pt idx="0">
                  <c:v>Non-Hispanic Black</c:v>
                </c:pt>
                <c:pt idx="1">
                  <c:v>Non-Hispanic White</c:v>
                </c:pt>
                <c:pt idx="2">
                  <c:v>Private Insurance</c:v>
                </c:pt>
                <c:pt idx="3">
                  <c:v>Public Insurance</c:v>
                </c:pt>
              </c:strCache>
            </c:strRef>
          </c:cat>
          <c:val>
            <c:numRef>
              <c:f>'[BE Hospital Structure Measures Data.xlsx]SMFM'!$B$41:$E$41</c:f>
              <c:numCache>
                <c:formatCode>0%</c:formatCode>
                <c:ptCount val="4"/>
                <c:pt idx="0">
                  <c:v>0.17</c:v>
                </c:pt>
                <c:pt idx="1">
                  <c:v>0.12</c:v>
                </c:pt>
                <c:pt idx="2">
                  <c:v>0.11</c:v>
                </c:pt>
                <c:pt idx="3">
                  <c:v>0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F92-480F-A53C-10A7E702EF85}"/>
            </c:ext>
          </c:extLst>
        </c:ser>
        <c:ser>
          <c:idx val="1"/>
          <c:order val="1"/>
          <c:tx>
            <c:strRef>
              <c:f>'[BE Hospital Structure Measures Data.xlsx]SMFM'!$A$42</c:f>
              <c:strCache>
                <c:ptCount val="1"/>
                <c:pt idx="0">
                  <c:v>Q1/Q2 202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BE Hospital Structure Measures Data.xlsx]SMFM'!$B$40:$E$40</c:f>
              <c:strCache>
                <c:ptCount val="4"/>
                <c:pt idx="0">
                  <c:v>Non-Hispanic Black</c:v>
                </c:pt>
                <c:pt idx="1">
                  <c:v>Non-Hispanic White</c:v>
                </c:pt>
                <c:pt idx="2">
                  <c:v>Private Insurance</c:v>
                </c:pt>
                <c:pt idx="3">
                  <c:v>Public Insurance</c:v>
                </c:pt>
              </c:strCache>
            </c:strRef>
          </c:cat>
          <c:val>
            <c:numRef>
              <c:f>'[BE Hospital Structure Measures Data.xlsx]SMFM'!$B$42:$E$42</c:f>
              <c:numCache>
                <c:formatCode>0%</c:formatCode>
                <c:ptCount val="4"/>
                <c:pt idx="0">
                  <c:v>0.13</c:v>
                </c:pt>
                <c:pt idx="1">
                  <c:v>0.1</c:v>
                </c:pt>
                <c:pt idx="2">
                  <c:v>0.1</c:v>
                </c:pt>
                <c:pt idx="3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F92-480F-A53C-10A7E702EF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60120184"/>
        <c:axId val="1160118744"/>
      </c:barChart>
      <c:catAx>
        <c:axId val="1160120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0118744"/>
        <c:crosses val="autoZero"/>
        <c:auto val="1"/>
        <c:lblAlgn val="ctr"/>
        <c:lblOffset val="100"/>
        <c:noMultiLvlLbl val="0"/>
      </c:catAx>
      <c:valAx>
        <c:axId val="11601187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601201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ilpqc.org/2023-annual-conference/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9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89" name="Google Shape;10989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990" name="Google Shape;10990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991" name="Google Shape;10991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34" name="Google Shape;11134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35" name="Google Shape;11135;p1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r>
              <a:rPr lang="en-US"/>
              <a:t>Thin the goal line should be at 70%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11136" name="Google Shape;11136;p1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50" name="Google Shape;11150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51" name="Google Shape;11151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52" name="Google Shape;11152;p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1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2" name="Google Shape;11162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63" name="Google Shape;11163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7" name="Google Shape;11167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168" name="Google Shape;11168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11169" name="Google Shape;11169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en-US"/>
              <a:t>13</a:t>
            </a:fld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78" name="Google Shape;11178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79" name="Google Shape;11179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17" name="Google Shape;4217;p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218" name="Google Shape;4218;p4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19" name="Google Shape;4219;p4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0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86" name="Google Shape;11186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87" name="Google Shape;11187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92" name="Google Shape;11192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93" name="Google Shape;11193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3" name="Google Shape;11203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04" name="Google Shape;112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17" name="Google Shape;11217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18" name="Google Shape;11218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97" name="Google Shape;10997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0998" name="Google Shape;10998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999" name="Google Shape;10999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28" name="Google Shape;11228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29" name="Google Shape;11229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39" name="Google Shape;11239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40" name="Google Shape;11240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51" name="Google Shape;11251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52" name="Google Shape;11252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2" name="Google Shape;11262;p2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63" name="Google Shape;11263;p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1" name="Google Shape;11271;p2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72" name="Google Shape;11272;p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81" name="Google Shape;11281;p2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82" name="Google Shape;11282;p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2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90" name="Google Shape;11290;p2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291" name="Google Shape;11291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25" name="Google Shape;11325;p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326" name="Google Shape;11326;p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26" name="Google Shape;11426;p3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27" name="Google Shape;11427;p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9" name="Google Shape;11339;p2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340" name="Google Shape;11340;p2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24" name="Google Shape;11024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025" name="Google Shape;11025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u="sng">
                <a:solidFill>
                  <a:schemeClr val="hlink"/>
                </a:solidFill>
                <a:hlinkClick r:id="rId3"/>
              </a:rPr>
              <a:t>https://ilpqc.org/2023-annual-conference/</a:t>
            </a: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26" name="Google Shape;11026;p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</a:t>
            </a:fld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45" name="Google Shape;11345;p2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346" name="Google Shape;11346;p2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7" name="Google Shape;11367;p2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368" name="Google Shape;11368;p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86" name="Google Shape;11386;p3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387" name="Google Shape;11387;p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97" name="Google Shape;11397;p3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398" name="Google Shape;11398;p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03" name="Google Shape;11403;p3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04" name="Google Shape;11404;p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8" name="Google Shape;11418;p3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19" name="Google Shape;11419;p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40" name="Google Shape;11440;p3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41" name="Google Shape;11441;p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46" name="Google Shape;11446;p3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47" name="Google Shape;11447;p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59" name="Google Shape;11459;p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60" name="Google Shape;11460;p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8" name="Google Shape;11468;p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469" name="Google Shape;11469;p3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b="1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70" name="Google Shape;11470;p3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46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39" name="Google Shape;11039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40" name="Google Shape;11040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79" name="Google Shape;11479;p4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80" name="Google Shape;11480;p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92" name="Google Shape;11492;p4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493" name="Google Shape;11493;p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98" name="Google Shape;11498;p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499" name="Google Shape;11499;p4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500" name="Google Shape;11500;p4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49</a:t>
            </a:fld>
            <a:endParaRPr/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5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08" name="Google Shape;11508;p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509" name="Google Shape;11509;p4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11510" name="Google Shape;11510;p4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en-US"/>
              <a:t>50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3" name="Google Shape;11053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54" name="Google Shape;1105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76" name="Google Shape;11076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077" name="Google Shape;11077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0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82" name="Google Shape;11082;p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11083" name="Google Shape;11083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07" name="Google Shape;11107;p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11108" name="Google Shape;11108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6" name="Google Shape;11126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127" name="Google Shape;11127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0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0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0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0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0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0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10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0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10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10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10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10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10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10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0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10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4.xml"/></Relationships>
</file>

<file path=ppt/slideLayouts/_rels/slideLayout10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4.xml"/></Relationships>
</file>

<file path=ppt/slideLayouts/_rels/slideLayout10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4.xml"/></Relationships>
</file>

<file path=ppt/slideLayouts/_rels/slideLayout10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10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0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0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10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0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10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10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0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0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0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0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0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0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0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0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0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0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0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0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/Relationships>
</file>

<file path=ppt/slideLayouts/_rels/slideLayout10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Master" Target="../slideMasters/slideMaster4.xml"/></Relationships>
</file>

<file path=ppt/slideLayouts/_rels/slideLayout10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4.xml"/></Relationships>
</file>

<file path=ppt/slideLayouts/_rels/slideLayout10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0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0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0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0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0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0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0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0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0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0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0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0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7.svg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7.svg"/></Relationships>
</file>

<file path=ppt/slideLayouts/_rels/slideLayout1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7.svg"/></Relationships>
</file>

<file path=ppt/slideLayouts/_rels/slideLayout1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7.svg"/></Relationships>
</file>

<file path=ppt/slideLayouts/_rels/slideLayout1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7.svg"/></Relationships>
</file>

<file path=ppt/slideLayouts/_rels/slideLayout1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7.svg"/></Relationships>
</file>

<file path=ppt/slideLayouts/_rels/slideLayout1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7.svg"/></Relationships>
</file>

<file path=ppt/slideLayouts/_rels/slideLayout1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7.svg"/></Relationships>
</file>

<file path=ppt/slideLayouts/_rels/slideLayout1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8.svg"/></Relationships>
</file>

<file path=ppt/slideLayouts/_rels/slideLayout1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8.svg"/></Relationships>
</file>

<file path=ppt/slideLayouts/_rels/slideLayout1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1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8.svg"/></Relationships>
</file>

<file path=ppt/slideLayouts/_rels/slideLayout1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8.svg"/></Relationships>
</file>

<file path=ppt/slideLayouts/_rels/slideLayout1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7.svg"/></Relationships>
</file>

<file path=ppt/slideLayouts/_rels/slideLayout1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7.svg"/></Relationships>
</file>

<file path=ppt/slideLayouts/_rels/slideLayout1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7.svg"/></Relationships>
</file>

<file path=ppt/slideLayouts/_rels/slideLayout1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8.svg"/></Relationships>
</file>

<file path=ppt/slideLayouts/_rels/slideLayout1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7.svg"/></Relationships>
</file>

<file path=ppt/slideLayouts/_rels/slideLayout1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7.svg"/></Relationships>
</file>

<file path=ppt/slideLayouts/_rels/slideLayout1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8.svg"/></Relationships>
</file>

<file path=ppt/slideLayouts/_rels/slideLayout1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1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6.xml"/></Relationships>
</file>

<file path=ppt/slideLayouts/_rels/slideLayout1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6.xml"/></Relationships>
</file>

<file path=ppt/slideLayouts/_rels/slideLayout1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6.xml"/></Relationships>
</file>

<file path=ppt/slideLayouts/_rels/slideLayout1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/Relationships>
</file>

<file path=ppt/slideLayouts/_rels/slideLayout1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1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1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/Relationships>
</file>

<file path=ppt/slideLayouts/_rels/slideLayout1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/Relationships>
</file>

<file path=ppt/slideLayouts/_rels/slideLayout1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6.xml"/></Relationships>
</file>

<file path=ppt/slideLayouts/_rels/slideLayout1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6.xml"/></Relationships>
</file>

<file path=ppt/slideLayouts/_rels/slideLayout1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6.xml"/></Relationships>
</file>

<file path=ppt/slideLayouts/_rels/slideLayout1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6.xml"/></Relationships>
</file>

<file path=ppt/slideLayouts/_rels/slideLayout1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1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1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6.xml"/></Relationships>
</file>

<file path=ppt/slideLayouts/_rels/slideLayout1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6.xml"/></Relationships>
</file>

<file path=ppt/slideLayouts/_rels/slideLayout1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6.xml"/></Relationships>
</file>

<file path=ppt/slideLayouts/_rels/slideLayout1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6.xml"/></Relationships>
</file>

<file path=ppt/slideLayouts/_rels/slideLayout1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6.xml"/></Relationships>
</file>

<file path=ppt/slideLayouts/_rels/slideLayout1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/Relationships>
</file>

<file path=ppt/slideLayouts/_rels/slideLayout1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/Relationships>
</file>

<file path=ppt/slideLayouts/_rels/slideLayout1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6.xml"/></Relationships>
</file>

<file path=ppt/slideLayouts/_rels/slideLayout1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6.xml"/></Relationships>
</file>

<file path=ppt/slideLayouts/_rels/slideLayout1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6.xml"/></Relationships>
</file>

<file path=ppt/slideLayouts/_rels/slideLayout1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7.svg"/></Relationships>
</file>

<file path=ppt/slideLayouts/_rels/slideLayout1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1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1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1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7.svg"/></Relationships>
</file>

<file path=ppt/slideLayouts/_rels/slideLayout1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1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1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1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1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13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.xml"/><Relationship Id="rId6" Type="http://schemas.openxmlformats.org/officeDocument/2006/relationships/image" Target="../media/image82.emf"/><Relationship Id="rId5" Type="http://schemas.openxmlformats.org/officeDocument/2006/relationships/image" Target="../media/image81.emf"/><Relationship Id="rId4" Type="http://schemas.openxmlformats.org/officeDocument/2006/relationships/image" Target="../media/image80.emf"/></Relationships>
</file>

<file path=ppt/slideLayouts/_rels/slideLayout13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0.jp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80.emf"/><Relationship Id="rId4" Type="http://schemas.openxmlformats.org/officeDocument/2006/relationships/oleObject" Target="../embeddings/oleObject2.bin"/></Relationships>
</file>

<file path=ppt/slideLayouts/_rels/slideLayout1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6.xml"/></Relationships>
</file>

<file path=ppt/slideLayouts/_rels/slideLayout1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Master" Target="../slideMasters/slideMaster6.xml"/></Relationships>
</file>

<file path=ppt/slideLayouts/_rels/slideLayout1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Master" Target="../slideMasters/slideMaster6.xml"/></Relationships>
</file>

<file path=ppt/slideLayouts/_rels/slideLayout13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59.jp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80.emf"/><Relationship Id="rId4" Type="http://schemas.openxmlformats.org/officeDocument/2006/relationships/oleObject" Target="../embeddings/oleObject4.bin"/></Relationships>
</file>

<file path=ppt/slideLayouts/_rels/slideLayout1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.xml"/></Relationships>
</file>

<file path=ppt/slideLayouts/_rels/slideLayout1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.xml"/></Relationships>
</file>

<file path=ppt/slideLayouts/_rels/slideLayout1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.xml"/></Relationships>
</file>

<file path=ppt/slideLayouts/_rels/slideLayout1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7.svg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7.svg"/></Relationships>
</file>

<file path=ppt/slideLayouts/_rels/slideLayout1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6.svg"/></Relationships>
</file>

<file path=ppt/slideLayouts/_rels/slideLayout1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6.xml"/></Relationships>
</file>

<file path=ppt/slideLayouts/_rels/slideLayout1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6.xml"/></Relationships>
</file>

<file path=ppt/slideLayouts/_rels/slideLayout1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6.xml"/></Relationships>
</file>

<file path=ppt/slideLayouts/_rels/slideLayout1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8.svg"/></Relationships>
</file>

<file path=ppt/slideLayouts/_rels/slideLayout1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7.svg"/></Relationships>
</file>

<file path=ppt/slideLayouts/_rels/slideLayout1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8.svg"/></Relationships>
</file>

<file path=ppt/slideLayouts/_rels/slideLayout1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7.svg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6.xml"/></Relationships>
</file>

<file path=ppt/slideLayouts/_rels/slideLayout1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6.xml"/></Relationships>
</file>

<file path=ppt/slideLayouts/_rels/slideLayout1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6.xml"/></Relationships>
</file>

<file path=ppt/slideLayouts/_rels/slideLayout1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6.xml"/></Relationships>
</file>

<file path=ppt/slideLayouts/_rels/slideLayout1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6.xml"/></Relationships>
</file>

<file path=ppt/slideLayouts/_rels/slideLayout1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6.xml"/></Relationships>
</file>

<file path=ppt/slideLayouts/_rels/slideLayout1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7.xml"/></Relationships>
</file>

<file path=ppt/slideLayouts/_rels/slideLayout1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7.xml"/></Relationships>
</file>

<file path=ppt/slideLayouts/_rels/slideLayout1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7.xml"/></Relationships>
</file>

<file path=ppt/slideLayouts/_rels/slideLayout1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7.xml"/></Relationships>
</file>

<file path=ppt/slideLayouts/_rels/slideLayout1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7.xml"/></Relationships>
</file>

<file path=ppt/slideLayouts/_rels/slideLayout1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7.xml"/></Relationships>
</file>

<file path=ppt/slideLayouts/_rels/slideLayout1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7.xml"/></Relationships>
</file>

<file path=ppt/slideLayouts/_rels/slideLayout1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7.xml"/></Relationships>
</file>

<file path=ppt/slideLayouts/_rels/slideLayout1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7.xml"/></Relationships>
</file>

<file path=ppt/slideLayouts/_rels/slideLayout1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7.xml"/></Relationships>
</file>

<file path=ppt/slideLayouts/_rels/slideLayout1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7.xml"/></Relationships>
</file>

<file path=ppt/slideLayouts/_rels/slideLayout1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7.xml"/></Relationships>
</file>

<file path=ppt/slideLayouts/_rels/slideLayout1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7.xml"/></Relationships>
</file>

<file path=ppt/slideLayouts/_rels/slideLayout1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4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4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4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4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4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4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4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1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4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7.xml"/></Relationships>
</file>

<file path=ppt/slideLayouts/_rels/slideLayout1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7.xml"/></Relationships>
</file>

<file path=ppt/slideLayouts/_rels/slideLayout14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7.xml"/></Relationships>
</file>

<file path=ppt/slideLayouts/_rels/slideLayout1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7.xml"/></Relationships>
</file>

<file path=ppt/slideLayouts/_rels/slideLayout1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7.xml"/></Relationships>
</file>

<file path=ppt/slideLayouts/_rels/slideLayout1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7.xml"/></Relationships>
</file>

<file path=ppt/slideLayouts/_rels/slideLayout1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7.xml"/></Relationships>
</file>

<file path=ppt/slideLayouts/_rels/slideLayout1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7.xml"/></Relationships>
</file>

<file path=ppt/slideLayouts/_rels/slideLayout1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7.xml"/></Relationships>
</file>

<file path=ppt/slideLayouts/_rels/slideLayout14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7.xml"/></Relationships>
</file>

<file path=ppt/slideLayouts/_rels/slideLayout1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1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1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1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1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1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1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1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1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1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7.xml"/></Relationships>
</file>

<file path=ppt/slideLayouts/_rels/slideLayout1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7.xml"/></Relationships>
</file>

<file path=ppt/slideLayouts/_rels/slideLayout1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7.xml"/></Relationships>
</file>

<file path=ppt/slideLayouts/_rels/slideLayout1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1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7.xml"/></Relationships>
</file>

<file path=ppt/slideLayouts/_rels/slideLayout1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Master" Target="../slideMasters/slideMaster7.xml"/></Relationships>
</file>

<file path=ppt/slideLayouts/_rels/slideLayout1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Master" Target="../slideMasters/slideMaster7.xml"/></Relationships>
</file>

<file path=ppt/slideLayouts/_rels/slideLayout1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Master" Target="../slideMasters/slideMaster7.xml"/></Relationships>
</file>

<file path=ppt/slideLayouts/_rels/slideLayout1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7.xml"/></Relationships>
</file>

<file path=ppt/slideLayouts/_rels/slideLayout1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7.xml"/></Relationships>
</file>

<file path=ppt/slideLayouts/_rels/slideLayout1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7.xml"/></Relationships>
</file>

<file path=ppt/slideLayouts/_rels/slideLayout1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Master" Target="../slideMasters/slideMaster7.xml"/></Relationships>
</file>

<file path=ppt/slideLayouts/_rels/slideLayout1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Master" Target="../slideMasters/slideMaster7.xml"/></Relationships>
</file>

<file path=ppt/slideLayouts/_rels/slideLayout1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Master" Target="../slideMasters/slideMaster7.xml"/></Relationships>
</file>

<file path=ppt/slideLayouts/_rels/slideLayout1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4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4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4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7.xml"/></Relationships>
</file>

<file path=ppt/slideLayouts/_rels/slideLayout1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7.xml"/></Relationships>
</file>

<file path=ppt/slideLayouts/_rels/slideLayout1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7.xml"/></Relationships>
</file>

<file path=ppt/slideLayouts/_rels/slideLayout14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7.xml"/></Relationships>
</file>

<file path=ppt/slideLayouts/_rels/slideLayout1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jpeg"/><Relationship Id="rId1" Type="http://schemas.openxmlformats.org/officeDocument/2006/relationships/slideMaster" Target="../slideMasters/slideMaster7.xml"/></Relationships>
</file>

<file path=ppt/slideLayouts/_rels/slideLayout1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Master" Target="../slideMasters/slideMaster7.xml"/></Relationships>
</file>

<file path=ppt/slideLayouts/_rels/slideLayout1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Master" Target="../slideMasters/slideMaster7.xml"/></Relationships>
</file>

<file path=ppt/slideLayouts/_rels/slideLayout1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Master" Target="../slideMasters/slideMaster7.xml"/></Relationships>
</file>

<file path=ppt/slideLayouts/_rels/slideLayout1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7.xml"/></Relationships>
</file>

<file path=ppt/slideLayouts/_rels/slideLayout15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Master" Target="../slideMasters/slideMaster7.xml"/></Relationships>
</file>

<file path=ppt/slideLayouts/_rels/slideLayout1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7.xml"/></Relationships>
</file>

<file path=ppt/slideLayouts/_rels/slideLayout1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7.xml"/></Relationships>
</file>

<file path=ppt/slideLayouts/_rels/slideLayout1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5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7.xml"/></Relationships>
</file>

<file path=ppt/slideLayouts/_rels/slideLayout1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7.xml"/></Relationships>
</file>

<file path=ppt/slideLayouts/_rels/slideLayout15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7.xml"/></Relationships>
</file>

<file path=ppt/slideLayouts/_rels/slideLayout1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7.xml"/></Relationships>
</file>

<file path=ppt/slideLayouts/_rels/slideLayout1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7.xml"/></Relationships>
</file>

<file path=ppt/slideLayouts/_rels/slideLayout1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7.xml"/></Relationships>
</file>

<file path=ppt/slideLayouts/_rels/slideLayout15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15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5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1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1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15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15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1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1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1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1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1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15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15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5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emf"/><Relationship Id="rId2" Type="http://schemas.openxmlformats.org/officeDocument/2006/relationships/image" Target="../media/image9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95.emf"/></Relationships>
</file>

<file path=ppt/slideLayouts/_rels/slideLayout15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emf"/><Relationship Id="rId2" Type="http://schemas.openxmlformats.org/officeDocument/2006/relationships/image" Target="../media/image9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95.emf"/></Relationships>
</file>

<file path=ppt/slideLayouts/_rels/slideLayout15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emf"/><Relationship Id="rId2" Type="http://schemas.openxmlformats.org/officeDocument/2006/relationships/image" Target="../media/image98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95.emf"/></Relationships>
</file>

<file path=ppt/slideLayouts/_rels/slideLayout15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emf"/><Relationship Id="rId2" Type="http://schemas.openxmlformats.org/officeDocument/2006/relationships/image" Target="../media/image9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95.emf"/></Relationships>
</file>

<file path=ppt/slideLayouts/_rels/slideLayout15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emf"/><Relationship Id="rId2" Type="http://schemas.openxmlformats.org/officeDocument/2006/relationships/image" Target="../media/image100.png"/><Relationship Id="rId1" Type="http://schemas.openxmlformats.org/officeDocument/2006/relationships/slideMaster" Target="../slideMasters/slideMaster8.xml"/></Relationships>
</file>

<file path=ppt/slideLayouts/_rels/slideLayout15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emf"/><Relationship Id="rId2" Type="http://schemas.openxmlformats.org/officeDocument/2006/relationships/image" Target="../media/image101.png"/><Relationship Id="rId1" Type="http://schemas.openxmlformats.org/officeDocument/2006/relationships/slideMaster" Target="../slideMasters/slideMaster8.xml"/></Relationships>
</file>

<file path=ppt/slideLayouts/_rels/slideLayout15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emf"/><Relationship Id="rId2" Type="http://schemas.openxmlformats.org/officeDocument/2006/relationships/image" Target="../media/image96.png"/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1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1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1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Master" Target="../slideMasters/slideMaster1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Master" Target="../slideMasters/slideMaster2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2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4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5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5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6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6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7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7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7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3.xml"/></Relationships>
</file>

<file path=ppt/slideLayouts/_rels/slideLayout7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3.xml"/></Relationships>
</file>

<file path=ppt/slideLayouts/_rels/slideLayout7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7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7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7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7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3.xml"/></Relationships>
</file>

<file path=ppt/slideLayouts/_rels/slideLayout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3.xml"/></Relationships>
</file>

<file path=ppt/slideLayouts/_rels/slideLayout7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3.xml"/></Relationships>
</file>

<file path=ppt/slideLayouts/_rels/slideLayout7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7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3.xml"/></Relationships>
</file>

<file path=ppt/slideLayouts/_rels/slideLayout7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3.xml"/></Relationships>
</file>

<file path=ppt/slideLayouts/_rels/slideLayout7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3.xml"/></Relationships>
</file>

<file path=ppt/slideLayouts/_rels/slideLayout7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7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7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7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7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7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7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7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3.xml"/></Relationships>
</file>

<file path=ppt/slideLayouts/_rels/slideLayout7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3.xml"/></Relationships>
</file>

<file path=ppt/slideLayouts/_rels/slideLayout7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3.xml"/></Relationships>
</file>

<file path=ppt/slideLayouts/_rels/slideLayout7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7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7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7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7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3.xml"/></Relationships>
</file>

<file path=ppt/slideLayouts/_rels/slideLayout7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3.xml"/></Relationships>
</file>

<file path=ppt/slideLayouts/_rels/slideLayout7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3.xml"/></Relationships>
</file>

<file path=ppt/slideLayouts/_rels/slideLayout7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7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7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7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7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7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3.xml"/></Relationships>
</file>

<file path=ppt/slideLayouts/_rels/slideLayout8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3.xml"/></Relationships>
</file>

<file path=ppt/slideLayouts/_rels/slideLayout8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3.xml"/></Relationships>
</file>

<file path=ppt/slideLayouts/_rels/slideLayout8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3.xml"/></Relationships>
</file>

<file path=ppt/slideLayouts/_rels/slideLayout8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3.xml"/></Relationships>
</file>

<file path=ppt/slideLayouts/_rels/slideLayout8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3.xml"/></Relationships>
</file>

<file path=ppt/slideLayouts/_rels/slideLayout8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3.xml"/></Relationships>
</file>

<file path=ppt/slideLayouts/_rels/slideLayout8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3.xml"/></Relationships>
</file>

<file path=ppt/slideLayouts/_rels/slideLayout8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Master" Target="../slideMasters/slideMaster3.xml"/></Relationships>
</file>

<file path=ppt/slideLayouts/_rels/slideLayout8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8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8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8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8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3.xml"/></Relationships>
</file>

<file path=ppt/slideLayouts/_rels/slideLayout8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3.xml"/></Relationships>
</file>

<file path=ppt/slideLayouts/_rels/slideLayout8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3.xml"/></Relationships>
</file>

<file path=ppt/slideLayouts/_rels/slideLayout8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3.xml"/></Relationships>
</file>

<file path=ppt/slideLayouts/_rels/slideLayout8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3.xml"/></Relationships>
</file>

<file path=ppt/slideLayouts/_rels/slideLayout8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3.xml"/></Relationships>
</file>

<file path=ppt/slideLayouts/_rels/slideLayout8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3.xml"/></Relationships>
</file>

<file path=ppt/slideLayouts/_rels/slideLayout8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8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8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8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9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9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9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9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9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9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9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9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9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9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9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9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9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9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9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9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9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9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9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9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9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9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9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9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9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9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9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9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9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9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9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9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9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9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9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9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9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9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9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9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4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6;p4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4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4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9" name="Google Shape;19;p4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0" name="Google Shape;20;p4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4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2" name="Google Shape;22;p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" name="Google Shape;101;p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" name="Google Shape;102;p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" name="Google Shape;103;p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" name="Google Shape;104;p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" name="Google Shape;106;p6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6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" name="Google Shape;108;p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" name="Google Shape;109;p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" name="Google Shape;110;p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10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6" name="Google Shape;1046;p1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7" name="Google Shape;1047;p1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8" name="Google Shape;1048;p1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9" name="Google Shape;1049;p1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0" name="Google Shape;1050;p1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1" name="Google Shape;1051;p1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2" name="Google Shape;1052;p1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3" name="Google Shape;1053;p1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4" name="Google Shape;1054;p1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omparison">
  <p:cSld name="7_Comparison">
    <p:spTree>
      <p:nvGrpSpPr>
        <p:cNvPr id="1" name="Shape 10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01" name="Google Shape;10201;p3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02" name="Google Shape;10202;p3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03" name="Google Shape;10203;p3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04" name="Google Shape;10204;p3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05" name="Google Shape;10205;p3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06" name="Google Shape;10206;p39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07" name="Google Shape;10207;p39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208" name="Google Shape;10208;p39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09" name="Google Shape;10209;p39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210" name="Google Shape;10210;p39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11" name="Google Shape;10211;p3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12" name="Google Shape;10212;p3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13" name="Google Shape;10213;p3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Only">
  <p:cSld name="8_Title Only">
    <p:spTree>
      <p:nvGrpSpPr>
        <p:cNvPr id="1" name="Shape 10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15" name="Google Shape;10215;p4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16" name="Google Shape;10216;p4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17" name="Google Shape;10217;p4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18" name="Google Shape;10218;p4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19" name="Google Shape;10219;p4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20" name="Google Shape;10220;p4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21" name="Google Shape;10221;p4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22" name="Google Shape;10222;p4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23" name="Google Shape;10223;p4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End">
  <p:cSld name="7_End">
    <p:spTree>
      <p:nvGrpSpPr>
        <p:cNvPr id="1" name="Shape 10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25" name="Google Shape;10225;p40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226" name="Google Shape;10226;p40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27" name="Google Shape;10227;p40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228" name="Google Shape;10228;p40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229" name="Google Shape;10229;p40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30" name="Google Shape;10230;p40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231" name="Google Shape;10231;p4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232" name="Google Shape;10232;p40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Blank">
  <p:cSld name="6_Blank">
    <p:spTree>
      <p:nvGrpSpPr>
        <p:cNvPr id="1" name="Shape 10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34" name="Google Shape;10234;p4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35" name="Google Shape;10235;p4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36" name="Google Shape;10236;p4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237" name="Google Shape;10237;p4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38" name="Google Shape;10238;p4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39" name="Google Shape;10239;p4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40" name="Google Shape;10240;p4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41" name="Google Shape;10241;p4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Quotation">
  <p:cSld name="13_Quotation">
    <p:spTree>
      <p:nvGrpSpPr>
        <p:cNvPr id="1" name="Shape 10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Google Shape;10243;p40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244" name="Google Shape;10244;p40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45" name="Google Shape;10245;p40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46" name="Google Shape;10246;p4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47" name="Google Shape;10247;p4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48" name="Google Shape;10248;p4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249" name="Google Shape;10249;p4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50" name="Google Shape;10250;p4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51" name="Google Shape;10251;p4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52" name="Google Shape;10252;p4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53" name="Google Shape;10253;p4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254" name="Google Shape;10254;p40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over">
  <p:cSld name="8_Cover">
    <p:spTree>
      <p:nvGrpSpPr>
        <p:cNvPr id="1" name="Shape 10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6" name="Google Shape;10256;p40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257" name="Google Shape;10257;p40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58" name="Google Shape;10258;p40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259" name="Google Shape;10259;p40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260" name="Google Shape;10260;p40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261" name="Google Shape;10261;p40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62" name="Google Shape;10262;p40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263" name="Google Shape;10263;p4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Divider">
  <p:cSld name="10_Divider">
    <p:bg>
      <p:bgPr>
        <a:solidFill>
          <a:schemeClr val="lt2"/>
        </a:solidFill>
        <a:effectLst/>
      </p:bgPr>
    </p:bg>
    <p:spTree>
      <p:nvGrpSpPr>
        <p:cNvPr id="1" name="Shape 10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5" name="Google Shape;10265;p40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266" name="Google Shape;10266;p40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67" name="Google Shape;10267;p40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68" name="Google Shape;10268;p40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269" name="Google Shape;10269;p4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270" name="Google Shape;10270;p40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71" name="Google Shape;10271;p40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Photo Slide">
  <p:cSld name="9_Photo Slide">
    <p:spTree>
      <p:nvGrpSpPr>
        <p:cNvPr id="1" name="Shape 10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3" name="Google Shape;10273;p40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274" name="Google Shape;10274;p40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275" name="Google Shape;10275;p40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276" name="Google Shape;10276;p40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77" name="Google Shape;10277;p40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278" name="Google Shape;10278;p40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279" name="Google Shape;10279;p40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Quotation">
  <p:cSld name="14_Quotation">
    <p:spTree>
      <p:nvGrpSpPr>
        <p:cNvPr id="1" name="Shape 10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1" name="Google Shape;10281;p4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282" name="Google Shape;10282;p4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83" name="Google Shape;10283;p4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4" name="Google Shape;10284;p4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85" name="Google Shape;10285;p4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86" name="Google Shape;10286;p4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287" name="Google Shape;10287;p4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88" name="Google Shape;10288;p4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89" name="Google Shape;10289;p4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90" name="Google Shape;10290;p4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91" name="Google Shape;10291;p4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292" name="Google Shape;10292;p40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Content">
  <p:cSld name="11_Title and Content">
    <p:spTree>
      <p:nvGrpSpPr>
        <p:cNvPr id="1" name="Shape 10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94" name="Google Shape;10294;p4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95" name="Google Shape;10295;p4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96" name="Google Shape;10296;p4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97" name="Google Shape;10297;p4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98" name="Google Shape;10298;p4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99" name="Google Shape;10299;p4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00" name="Google Shape;10300;p40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01" name="Google Shape;10301;p4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02" name="Google Shape;10302;p4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03" name="Google Shape;10303;p4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1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6" name="Google Shape;1056;p15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57" name="Google Shape;1057;p15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8" name="Google Shape;1058;p15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59" name="Google Shape;1059;p15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0" name="Google Shape;1060;p15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1" name="Google Shape;1061;p15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62" name="Google Shape;1062;p1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63" name="Google Shape;1063;p15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wo Content">
  <p:cSld name="9_Two Content">
    <p:spTree>
      <p:nvGrpSpPr>
        <p:cNvPr id="1" name="Shape 10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5" name="Google Shape;10305;p4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06" name="Google Shape;10306;p40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307" name="Google Shape;10307;p4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08" name="Google Shape;10308;p4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09" name="Google Shape;10309;p4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10" name="Google Shape;10310;p4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11" name="Google Shape;10311;p4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12" name="Google Shape;10312;p40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13" name="Google Shape;10313;p40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14" name="Google Shape;10314;p4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15" name="Google Shape;10315;p4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omparison">
  <p:cSld name="8_Comparison">
    <p:spTree>
      <p:nvGrpSpPr>
        <p:cNvPr id="1" name="Shape 103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17" name="Google Shape;10317;p4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18" name="Google Shape;10318;p4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19" name="Google Shape;10319;p4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20" name="Google Shape;10320;p4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21" name="Google Shape;10321;p4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22" name="Google Shape;10322;p4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23" name="Google Shape;10323;p41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324" name="Google Shape;10324;p41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25" name="Google Shape;10325;p41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326" name="Google Shape;10326;p41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27" name="Google Shape;10327;p4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28" name="Google Shape;10328;p4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29" name="Google Shape;10329;p4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Only">
  <p:cSld name="9_Title Only">
    <p:spTree>
      <p:nvGrpSpPr>
        <p:cNvPr id="1" name="Shape 10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31" name="Google Shape;10331;p4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32" name="Google Shape;10332;p4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33" name="Google Shape;10333;p4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34" name="Google Shape;10334;p4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35" name="Google Shape;10335;p4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36" name="Google Shape;10336;p4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37" name="Google Shape;10337;p4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38" name="Google Shape;10338;p4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39" name="Google Shape;10339;p4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End">
  <p:cSld name="8_End">
    <p:spTree>
      <p:nvGrpSpPr>
        <p:cNvPr id="1" name="Shape 10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41" name="Google Shape;10341;p41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342" name="Google Shape;10342;p41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43" name="Google Shape;10343;p41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344" name="Google Shape;10344;p41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45" name="Google Shape;10345;p41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46" name="Google Shape;10346;p41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347" name="Google Shape;10347;p4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348" name="Google Shape;10348;p41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Blank">
  <p:cSld name="8_Blank">
    <p:spTree>
      <p:nvGrpSpPr>
        <p:cNvPr id="1" name="Shape 10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0" name="Google Shape;10350;p4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51" name="Google Shape;10351;p4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52" name="Google Shape;10352;p4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53" name="Google Shape;10353;p4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54" name="Google Shape;10354;p4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55" name="Google Shape;10355;p4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56" name="Google Shape;10356;p4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57" name="Google Shape;10357;p4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Quotation">
  <p:cSld name="15_Quotation">
    <p:spTree>
      <p:nvGrpSpPr>
        <p:cNvPr id="1" name="Shape 10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9" name="Google Shape;10359;p4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60" name="Google Shape;10360;p4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61" name="Google Shape;10361;p4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62" name="Google Shape;10362;p4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63" name="Google Shape;10363;p4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64" name="Google Shape;10364;p4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65" name="Google Shape;10365;p4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66" name="Google Shape;10366;p4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67" name="Google Shape;10367;p4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68" name="Google Shape;10368;p4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69" name="Google Shape;10369;p4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370" name="Google Shape;10370;p41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over">
  <p:cSld name="9_Cover">
    <p:spTree>
      <p:nvGrpSpPr>
        <p:cNvPr id="1" name="Shape 103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2" name="Google Shape;10372;p41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73" name="Google Shape;10373;p41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74" name="Google Shape;10374;p41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375" name="Google Shape;10375;p41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376" name="Google Shape;10376;p41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377" name="Google Shape;10377;p4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78" name="Google Shape;10378;p41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379" name="Google Shape;10379;p4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Divider">
  <p:cSld name="11_Divider">
    <p:bg>
      <p:bgPr>
        <a:solidFill>
          <a:schemeClr val="lt2"/>
        </a:solidFill>
        <a:effectLst/>
      </p:bgPr>
    </p:bg>
    <p:spTree>
      <p:nvGrpSpPr>
        <p:cNvPr id="1" name="Shape 10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81" name="Google Shape;10381;p41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382" name="Google Shape;10382;p41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83" name="Google Shape;10383;p41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84" name="Google Shape;10384;p41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385" name="Google Shape;10385;p4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386" name="Google Shape;10386;p41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87" name="Google Shape;10387;p41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Photo Slide">
  <p:cSld name="10_Photo Slide">
    <p:spTree>
      <p:nvGrpSpPr>
        <p:cNvPr id="1" name="Shape 10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89" name="Google Shape;10389;p41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390" name="Google Shape;10390;p41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391" name="Google Shape;10391;p41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392" name="Google Shape;10392;p41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93" name="Google Shape;10393;p41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394" name="Google Shape;10394;p41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395" name="Google Shape;10395;p4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Quotation">
  <p:cSld name="16_Quotation">
    <p:spTree>
      <p:nvGrpSpPr>
        <p:cNvPr id="1" name="Shape 10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97" name="Google Shape;10397;p4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98" name="Google Shape;10398;p4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99" name="Google Shape;10399;p4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00" name="Google Shape;10400;p4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01" name="Google Shape;10401;p4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02" name="Google Shape;10402;p4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403" name="Google Shape;10403;p4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04" name="Google Shape;10404;p4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05" name="Google Shape;10405;p4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06" name="Google Shape;10406;p4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07" name="Google Shape;10407;p4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408" name="Google Shape;10408;p4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1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" name="Google Shape;1065;p1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6" name="Google Shape;1066;p1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7" name="Google Shape;1067;p1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8" name="Google Shape;1068;p1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9" name="Google Shape;1069;p1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0" name="Google Shape;1070;p1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1" name="Google Shape;1071;p1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2" name="Google Shape;1072;p1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Quotation">
  <p:cSld name="17_Quotation">
    <p:spTree>
      <p:nvGrpSpPr>
        <p:cNvPr id="1" name="Shape 10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0" name="Google Shape;10410;p41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11" name="Google Shape;10411;p41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12" name="Google Shape;10412;p41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13" name="Google Shape;10413;p4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14" name="Google Shape;10414;p4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15" name="Google Shape;10415;p4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416" name="Google Shape;10416;p4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17" name="Google Shape;10417;p4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18" name="Google Shape;10418;p4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19" name="Google Shape;10419;p4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20" name="Google Shape;10420;p4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421" name="Google Shape;10421;p41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and Content">
  <p:cSld name="12_Title and Content">
    <p:spTree>
      <p:nvGrpSpPr>
        <p:cNvPr id="1" name="Shape 10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23" name="Google Shape;10423;p4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24" name="Google Shape;10424;p4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25" name="Google Shape;10425;p4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26" name="Google Shape;10426;p4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27" name="Google Shape;10427;p4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28" name="Google Shape;10428;p4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29" name="Google Shape;10429;p42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30" name="Google Shape;10430;p4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31" name="Google Shape;10431;p4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32" name="Google Shape;10432;p4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wo Content">
  <p:cSld name="10_Two Content">
    <p:spTree>
      <p:nvGrpSpPr>
        <p:cNvPr id="1" name="Shape 10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34" name="Google Shape;10434;p4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35" name="Google Shape;10435;p4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436" name="Google Shape;10436;p4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37" name="Google Shape;10437;p4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38" name="Google Shape;10438;p4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39" name="Google Shape;10439;p4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40" name="Google Shape;10440;p4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41" name="Google Shape;10441;p42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42" name="Google Shape;10442;p42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43" name="Google Shape;10443;p4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44" name="Google Shape;10444;p4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omparison">
  <p:cSld name="9_Comparison">
    <p:spTree>
      <p:nvGrpSpPr>
        <p:cNvPr id="1" name="Shape 10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46" name="Google Shape;10446;p4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47" name="Google Shape;10447;p4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48" name="Google Shape;10448;p4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49" name="Google Shape;10449;p4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50" name="Google Shape;10450;p4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51" name="Google Shape;10451;p4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52" name="Google Shape;10452;p42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53" name="Google Shape;10453;p42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54" name="Google Shape;10454;p42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55" name="Google Shape;10455;p42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56" name="Google Shape;10456;p4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57" name="Google Shape;10457;p4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58" name="Google Shape;10458;p4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Only">
  <p:cSld name="10_Title Only">
    <p:spTree>
      <p:nvGrpSpPr>
        <p:cNvPr id="1" name="Shape 104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60" name="Google Shape;10460;p4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61" name="Google Shape;10461;p4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62" name="Google Shape;10462;p4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63" name="Google Shape;10463;p4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64" name="Google Shape;10464;p4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65" name="Google Shape;10465;p4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66" name="Google Shape;10466;p4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67" name="Google Shape;10467;p4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68" name="Google Shape;10468;p4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End">
  <p:cSld name="9_End">
    <p:spTree>
      <p:nvGrpSpPr>
        <p:cNvPr id="1" name="Shape 104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70" name="Google Shape;10470;p42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471" name="Google Shape;10471;p42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72" name="Google Shape;10472;p42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473" name="Google Shape;10473;p42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74" name="Google Shape;10474;p42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75" name="Google Shape;10475;p42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476" name="Google Shape;10476;p4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477" name="Google Shape;10477;p42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Blank">
  <p:cSld name="9_Blank">
    <p:spTree>
      <p:nvGrpSpPr>
        <p:cNvPr id="1" name="Shape 104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79" name="Google Shape;10479;p4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80" name="Google Shape;10480;p4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81" name="Google Shape;10481;p4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482" name="Google Shape;10482;p4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83" name="Google Shape;10483;p4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84" name="Google Shape;10484;p4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85" name="Google Shape;10485;p4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86" name="Google Shape;10486;p4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104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8" name="Google Shape;10488;p42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89" name="Google Shape;10489;p426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490" name="Google Shape;10490;p4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0491" name="Google Shape;10491;p426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492" name="Google Shape;10492;p42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0493" name="Google Shape;10493;p426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494" name="Google Shape;10494;p426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95" name="Google Shape;10495;p426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96" name="Google Shape;10496;p4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97" name="Google Shape;10497;p42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498" name="Google Shape;10498;p4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Quotation">
  <p:cSld name="18_Quotation">
    <p:spTree>
      <p:nvGrpSpPr>
        <p:cNvPr id="1" name="Shape 10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00" name="Google Shape;10500;p42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01" name="Google Shape;10501;p42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02" name="Google Shape;10502;p42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03" name="Google Shape;10503;p4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04" name="Google Shape;10504;p4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05" name="Google Shape;10505;p4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06" name="Google Shape;10506;p4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07" name="Google Shape;10507;p4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08" name="Google Shape;10508;p4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09" name="Google Shape;10509;p4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10" name="Google Shape;10510;p4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511" name="Google Shape;10511;p42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Quotation">
  <p:cSld name="19_Quotation">
    <p:spTree>
      <p:nvGrpSpPr>
        <p:cNvPr id="1" name="Shape 10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13" name="Google Shape;10513;p42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14" name="Google Shape;10514;p42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15" name="Google Shape;10515;p42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16" name="Google Shape;10516;p4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17" name="Google Shape;10517;p4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18" name="Google Shape;10518;p4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19" name="Google Shape;10519;p4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20" name="Google Shape;10520;p4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21" name="Google Shape;10521;p4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22" name="Google Shape;10522;p4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23" name="Google Shape;10523;p4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524" name="Google Shape;10524;p42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4" name="Google Shape;1074;p15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5" name="Google Shape;1075;p15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6" name="Google Shape;1076;p15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7" name="Google Shape;1077;p1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8" name="Google Shape;1078;p1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9" name="Google Shape;1079;p1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0" name="Google Shape;1080;p1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1" name="Google Shape;1081;p1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2" name="Google Shape;1082;p1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3" name="Google Shape;1083;p1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4" name="Google Shape;1084;p1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85" name="Google Shape;1085;p15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 type="title">
  <p:cSld name="TITLE">
    <p:spTree>
      <p:nvGrpSpPr>
        <p:cNvPr id="1" name="Shape 10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26" name="Google Shape;10526;p429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27" name="Google Shape;10527;p429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528" name="Google Shape;10528;p42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529" name="Google Shape;10529;p4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30" name="Google Shape;10530;p4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05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32" name="Google Shape;10532;p43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33" name="Google Shape;10533;p43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34" name="Google Shape;10534;p4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535" name="Google Shape;10535;p4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36" name="Google Shape;10536;p4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537" name="Google Shape;10537;p43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38" name="Google Shape;10538;p43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39" name="Google Shape;10539;p43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540" name="Google Shape;10540;p4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_Yale Blue">
  <p:cSld name="4_Title Slide_Yale Blue">
    <p:spTree>
      <p:nvGrpSpPr>
        <p:cNvPr id="1" name="Shape 10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2" name="Google Shape;10542;p43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43" name="Google Shape;10543;p43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44" name="Google Shape;10544;p43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545" name="Google Shape;10545;p4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46" name="Google Shape;10546;p4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547" name="Google Shape;10547;p43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48" name="Google Shape;10548;p43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49" name="Google Shape;10549;p43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550" name="Google Shape;10550;p4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0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2" name="Google Shape;10552;p432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53" name="Google Shape;10553;p43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54" name="Google Shape;10554;p43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55" name="Google Shape;10555;p432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556" name="Google Shape;10556;p4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and Content">
  <p:cSld name="13_Title and Content">
    <p:spTree>
      <p:nvGrpSpPr>
        <p:cNvPr id="1" name="Shape 105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8" name="Google Shape;10558;p43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559" name="Google Shape;10559;p4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0560" name="Google Shape;10560;p43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61" name="Google Shape;10561;p433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62" name="Google Shape;10562;p433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0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64" name="Google Shape;10564;p43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65" name="Google Shape;10565;p43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66" name="Google Shape;10566;p434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67" name="Google Shape;10567;p434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68" name="Google Shape;10568;p434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569" name="Google Shape;10569;p4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_Yale Blue">
  <p:cSld name="5_Title Slide_Yale Blue">
    <p:spTree>
      <p:nvGrpSpPr>
        <p:cNvPr id="1" name="Shape 10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71" name="Google Shape;10571;p43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72" name="Google Shape;10572;p43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73" name="Google Shape;10573;p43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574" name="Google Shape;10574;p4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75" name="Google Shape;10575;p4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576" name="Google Shape;10576;p43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77" name="Google Shape;10577;p43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78" name="Google Shape;10578;p43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579" name="Google Shape;10579;p4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Bullets Layout">
  <p:cSld name="1_Title and Bullets Layout">
    <p:spTree>
      <p:nvGrpSpPr>
        <p:cNvPr id="1" name="Shape 10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81" name="Google Shape;10581;p43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82" name="Google Shape;10582;p43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83" name="Google Shape;10583;p43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84" name="Google Shape;10584;p43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585" name="Google Shape;10585;p4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>
  <p:cSld name="14_Title and Content">
    <p:spTree>
      <p:nvGrpSpPr>
        <p:cNvPr id="1" name="Shape 10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87" name="Google Shape;10587;p43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588" name="Google Shape;10588;p4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0589" name="Google Shape;10589;p43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90" name="Google Shape;10590;p43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91" name="Google Shape;10591;p43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wo Section | Picture and Copy Layout">
  <p:cSld name="1_Two Section | Picture and Copy Layout">
    <p:spTree>
      <p:nvGrpSpPr>
        <p:cNvPr id="1" name="Shape 10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93" name="Google Shape;10593;p43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94" name="Google Shape;10594;p43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95" name="Google Shape;10595;p43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96" name="Google Shape;10596;p43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97" name="Google Shape;10597;p43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598" name="Google Shape;10598;p4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10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7" name="Google Shape;1087;p15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88" name="Google Shape;1088;p15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9" name="Google Shape;1089;p15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90" name="Google Shape;1090;p15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1" name="Google Shape;1091;p15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2" name="Google Shape;1092;p15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93" name="Google Shape;1093;p1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94" name="Google Shape;1094;p15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_Yale Blue">
  <p:cSld name="6_Title Slide_Yale Blue">
    <p:spTree>
      <p:nvGrpSpPr>
        <p:cNvPr id="1" name="Shape 10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00" name="Google Shape;10600;p43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01" name="Google Shape;10601;p43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02" name="Google Shape;10602;p43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603" name="Google Shape;10603;p4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04" name="Google Shape;10604;p4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605" name="Google Shape;10605;p43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06" name="Google Shape;10606;p43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07" name="Google Shape;10607;p43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608" name="Google Shape;10608;p4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_Yale Blue">
  <p:cSld name="7_Title Slide_Yale Blue">
    <p:spTree>
      <p:nvGrpSpPr>
        <p:cNvPr id="1" name="Shape 106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10" name="Google Shape;10610;p44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11" name="Google Shape;10611;p44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12" name="Google Shape;10612;p44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613" name="Google Shape;10613;p4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14" name="Google Shape;10614;p4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615" name="Google Shape;10615;p44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16" name="Google Shape;10616;p44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17" name="Google Shape;10617;p44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618" name="Google Shape;10618;p4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Bullets Layout">
  <p:cSld name="2_Title and Bullets Layout">
    <p:spTree>
      <p:nvGrpSpPr>
        <p:cNvPr id="1" name="Shape 10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0" name="Google Shape;10620;p44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21" name="Google Shape;10621;p44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22" name="Google Shape;10622;p44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23" name="Google Shape;10623;p44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624" name="Google Shape;10624;p4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and Content">
  <p:cSld name="15_Title and Content">
    <p:spTree>
      <p:nvGrpSpPr>
        <p:cNvPr id="1" name="Shape 106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6" name="Google Shape;10626;p44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627" name="Google Shape;10627;p4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0628" name="Google Shape;10628;p44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29" name="Google Shape;10629;p44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30" name="Google Shape;10630;p44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wo Section | Picture and Copy Layout">
  <p:cSld name="2_Two Section | Picture and Copy Layout">
    <p:spTree>
      <p:nvGrpSpPr>
        <p:cNvPr id="1" name="Shape 106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32" name="Google Shape;10632;p44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33" name="Google Shape;10633;p44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34" name="Google Shape;10634;p44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35" name="Google Shape;10635;p44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36" name="Google Shape;10636;p44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637" name="Google Shape;10637;p4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_Yale Blue">
  <p:cSld name="8_Title Slide_Yale Blue">
    <p:spTree>
      <p:nvGrpSpPr>
        <p:cNvPr id="1" name="Shape 106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39" name="Google Shape;10639;p44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40" name="Google Shape;10640;p44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41" name="Google Shape;10641;p44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642" name="Google Shape;10642;p4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43" name="Google Shape;10643;p4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644" name="Google Shape;10644;p44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45" name="Google Shape;10645;p44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46" name="Google Shape;10646;p44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647" name="Google Shape;10647;p4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Bullets Layout">
  <p:cSld name="3_Title and Bullets Layout">
    <p:spTree>
      <p:nvGrpSpPr>
        <p:cNvPr id="1" name="Shape 106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" name="Google Shape;10649;p44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50" name="Google Shape;10650;p44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51" name="Google Shape;10651;p44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52" name="Google Shape;10652;p44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653" name="Google Shape;10653;p4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itle and Content">
  <p:cSld name="16_Title and Content">
    <p:spTree>
      <p:nvGrpSpPr>
        <p:cNvPr id="1" name="Shape 10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5" name="Google Shape;10655;p44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656" name="Google Shape;10656;p4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0657" name="Google Shape;10657;p44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58" name="Google Shape;10658;p44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59" name="Google Shape;10659;p44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wo Section | Picture and Copy Layout">
  <p:cSld name="3_Two Section | Picture and Copy Layout">
    <p:spTree>
      <p:nvGrpSpPr>
        <p:cNvPr id="1" name="Shape 106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61" name="Google Shape;10661;p44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62" name="Google Shape;10662;p44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63" name="Google Shape;10663;p44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64" name="Google Shape;10664;p44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65" name="Google Shape;10665;p44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666" name="Google Shape;10666;p4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Bullets Layout">
  <p:cSld name="4_Title and Bullets Layout">
    <p:spTree>
      <p:nvGrpSpPr>
        <p:cNvPr id="1" name="Shape 106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68" name="Google Shape;10668;p44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69" name="Google Shape;10669;p44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70" name="Google Shape;10670;p44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71" name="Google Shape;10671;p44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672" name="Google Shape;10672;p4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10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6" name="Google Shape;1096;p16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7" name="Google Shape;1097;p16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8" name="Google Shape;1098;p16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99" name="Google Shape;1099;p1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00" name="Google Shape;1100;p16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01" name="Google Shape;1101;p1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2" name="Google Shape;1102;p16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3" name="Google Shape;1103;p1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itle and Content">
  <p:cSld name="17_Title and Content">
    <p:spTree>
      <p:nvGrpSpPr>
        <p:cNvPr id="1" name="Shape 106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74" name="Google Shape;10674;p44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675" name="Google Shape;10675;p4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0676" name="Google Shape;10676;p44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77" name="Google Shape;10677;p44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78" name="Google Shape;10678;p44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wo Section | Picture and Copy Layout">
  <p:cSld name="4_Two Section | Picture and Copy Layout">
    <p:spTree>
      <p:nvGrpSpPr>
        <p:cNvPr id="1" name="Shape 10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80" name="Google Shape;10680;p45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81" name="Google Shape;10681;p45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82" name="Google Shape;10682;p45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83" name="Google Shape;10683;p45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84" name="Google Shape;10684;p45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685" name="Google Shape;10685;p4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over">
  <p:cSld name="10_Cover">
    <p:spTree>
      <p:nvGrpSpPr>
        <p:cNvPr id="1" name="Shape 10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87" name="Google Shape;10687;p45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88" name="Google Shape;10688;p45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89" name="Google Shape;10689;p45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690" name="Google Shape;10690;p45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691" name="Google Shape;10691;p45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692" name="Google Shape;10692;p45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93" name="Google Shape;10693;p45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694" name="Google Shape;10694;p4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Divider">
  <p:cSld name="12_Divider">
    <p:bg>
      <p:bgPr>
        <a:solidFill>
          <a:schemeClr val="lt2"/>
        </a:solidFill>
        <a:effectLst/>
      </p:bgPr>
    </p:bg>
    <p:spTree>
      <p:nvGrpSpPr>
        <p:cNvPr id="1" name="Shape 106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96" name="Google Shape;10696;p45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697" name="Google Shape;10697;p45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98" name="Google Shape;10698;p45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99" name="Google Shape;10699;p45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700" name="Google Shape;10700;p4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701" name="Google Shape;10701;p45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02" name="Google Shape;10702;p45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Photo Slide">
  <p:cSld name="11_Photo Slide">
    <p:spTree>
      <p:nvGrpSpPr>
        <p:cNvPr id="1" name="Shape 107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04" name="Google Shape;10704;p45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705" name="Google Shape;10705;p45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706" name="Google Shape;10706;p45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707" name="Google Shape;10707;p45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08" name="Google Shape;10708;p45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709" name="Google Shape;10709;p45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710" name="Google Shape;10710;p4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Quotation">
  <p:cSld name="20_Quotation">
    <p:spTree>
      <p:nvGrpSpPr>
        <p:cNvPr id="1" name="Shape 10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12" name="Google Shape;10712;p45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13" name="Google Shape;10713;p45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14" name="Google Shape;10714;p45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15" name="Google Shape;10715;p4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16" name="Google Shape;10716;p4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17" name="Google Shape;10717;p4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718" name="Google Shape;10718;p4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19" name="Google Shape;10719;p4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20" name="Google Shape;10720;p4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21" name="Google Shape;10721;p4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22" name="Google Shape;10722;p4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723" name="Google Shape;10723;p45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itle and Content">
  <p:cSld name="18_Title and Content">
    <p:spTree>
      <p:nvGrpSpPr>
        <p:cNvPr id="1" name="Shape 107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25" name="Google Shape;10725;p4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26" name="Google Shape;10726;p4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27" name="Google Shape;10727;p4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28" name="Google Shape;10728;p4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29" name="Google Shape;10729;p4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730" name="Google Shape;10730;p4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31" name="Google Shape;10731;p45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32" name="Google Shape;10732;p4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33" name="Google Shape;10733;p4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34" name="Google Shape;10734;p4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wo Content">
  <p:cSld name="11_Two Content">
    <p:spTree>
      <p:nvGrpSpPr>
        <p:cNvPr id="1" name="Shape 107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36" name="Google Shape;10736;p4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37" name="Google Shape;10737;p45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738" name="Google Shape;10738;p4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39" name="Google Shape;10739;p4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40" name="Google Shape;10740;p4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41" name="Google Shape;10741;p4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42" name="Google Shape;10742;p4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743" name="Google Shape;10743;p45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44" name="Google Shape;10744;p45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45" name="Google Shape;10745;p4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46" name="Google Shape;10746;p4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omparison">
  <p:cSld name="10_Comparison">
    <p:spTree>
      <p:nvGrpSpPr>
        <p:cNvPr id="1" name="Shape 107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48" name="Google Shape;10748;p4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49" name="Google Shape;10749;p4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50" name="Google Shape;10750;p4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51" name="Google Shape;10751;p4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52" name="Google Shape;10752;p4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753" name="Google Shape;10753;p4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54" name="Google Shape;10754;p45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755" name="Google Shape;10755;p45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56" name="Google Shape;10756;p45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757" name="Google Shape;10757;p45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58" name="Google Shape;10758;p4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59" name="Google Shape;10759;p4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60" name="Google Shape;10760;p4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Only">
  <p:cSld name="11_Title Only">
    <p:spTree>
      <p:nvGrpSpPr>
        <p:cNvPr id="1" name="Shape 107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62" name="Google Shape;10762;p4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63" name="Google Shape;10763;p4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64" name="Google Shape;10764;p4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65" name="Google Shape;10765;p4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66" name="Google Shape;10766;p4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767" name="Google Shape;10767;p4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68" name="Google Shape;10768;p4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69" name="Google Shape;10769;p4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70" name="Google Shape;10770;p4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bg>
      <p:bgPr>
        <a:solidFill>
          <a:schemeClr val="lt2"/>
        </a:solidFill>
        <a:effectLst/>
      </p:bgPr>
    </p:bg>
    <p:spTree>
      <p:nvGrpSpPr>
        <p:cNvPr id="1" name="Shape 1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5" name="Google Shape;1105;p16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06" name="Google Shape;1106;p16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7" name="Google Shape;1107;p16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8" name="Google Shape;1108;p16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9" name="Google Shape;1109;p1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10" name="Google Shape;1110;p16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1" name="Google Shape;1111;p16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End">
  <p:cSld name="10_End">
    <p:spTree>
      <p:nvGrpSpPr>
        <p:cNvPr id="1" name="Shape 107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72" name="Google Shape;10772;p45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773" name="Google Shape;10773;p45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74" name="Google Shape;10774;p45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775" name="Google Shape;10775;p45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76" name="Google Shape;10776;p45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77" name="Google Shape;10777;p45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778" name="Google Shape;10778;p4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779" name="Google Shape;10779;p45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Blank">
  <p:cSld name="10_Blank">
    <p:spTree>
      <p:nvGrpSpPr>
        <p:cNvPr id="1" name="Shape 107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81" name="Google Shape;10781;p4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82" name="Google Shape;10782;p4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83" name="Google Shape;10783;p4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784" name="Google Shape;10784;p46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85" name="Google Shape;10785;p4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86" name="Google Shape;10786;p46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87" name="Google Shape;10787;p4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88" name="Google Shape;10788;p4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over">
  <p:cSld name="11_Cover">
    <p:spTree>
      <p:nvGrpSpPr>
        <p:cNvPr id="1" name="Shape 107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0" name="Google Shape;10790;p46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91" name="Google Shape;10791;p46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92" name="Google Shape;10792;p46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793" name="Google Shape;10793;p46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794" name="Google Shape;10794;p46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795" name="Google Shape;10795;p46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96" name="Google Shape;10796;p46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797" name="Google Shape;10797;p4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Divider">
  <p:cSld name="13_Divider">
    <p:bg>
      <p:bgPr>
        <a:solidFill>
          <a:schemeClr val="lt2"/>
        </a:solidFill>
        <a:effectLst/>
      </p:bgPr>
    </p:bg>
    <p:spTree>
      <p:nvGrpSpPr>
        <p:cNvPr id="1" name="Shape 107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99" name="Google Shape;10799;p46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800" name="Google Shape;10800;p46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01" name="Google Shape;10801;p46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02" name="Google Shape;10802;p46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803" name="Google Shape;10803;p4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804" name="Google Shape;10804;p46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05" name="Google Shape;10805;p46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Photo Slide">
  <p:cSld name="12_Photo Slide">
    <p:spTree>
      <p:nvGrpSpPr>
        <p:cNvPr id="1" name="Shape 10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07" name="Google Shape;10807;p46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808" name="Google Shape;10808;p46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809" name="Google Shape;10809;p46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810" name="Google Shape;10810;p46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11" name="Google Shape;10811;p46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812" name="Google Shape;10812;p46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813" name="Google Shape;10813;p4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Quotation">
  <p:cSld name="21_Quotation">
    <p:spTree>
      <p:nvGrpSpPr>
        <p:cNvPr id="1" name="Shape 108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5" name="Google Shape;10815;p4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16" name="Google Shape;10816;p4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17" name="Google Shape;10817;p4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18" name="Google Shape;10818;p4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19" name="Google Shape;10819;p4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20" name="Google Shape;10820;p4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21" name="Google Shape;10821;p4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22" name="Google Shape;10822;p4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23" name="Google Shape;10823;p4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24" name="Google Shape;10824;p4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25" name="Google Shape;10825;p4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826" name="Google Shape;10826;p46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itle and Content">
  <p:cSld name="19_Title and Content">
    <p:spTree>
      <p:nvGrpSpPr>
        <p:cNvPr id="1" name="Shape 10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28" name="Google Shape;10828;p4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29" name="Google Shape;10829;p4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30" name="Google Shape;10830;p4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31" name="Google Shape;10831;p4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32" name="Google Shape;10832;p4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833" name="Google Shape;10833;p4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34" name="Google Shape;10834;p46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35" name="Google Shape;10835;p4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36" name="Google Shape;10836;p4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37" name="Google Shape;10837;p4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wo Content">
  <p:cSld name="12_Two Content">
    <p:spTree>
      <p:nvGrpSpPr>
        <p:cNvPr id="1" name="Shape 108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39" name="Google Shape;10839;p4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40" name="Google Shape;10840;p46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841" name="Google Shape;10841;p4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42" name="Google Shape;10842;p4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43" name="Google Shape;10843;p4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44" name="Google Shape;10844;p4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45" name="Google Shape;10845;p4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846" name="Google Shape;10846;p46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47" name="Google Shape;10847;p46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48" name="Google Shape;10848;p4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49" name="Google Shape;10849;p4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omparison">
  <p:cSld name="11_Comparison">
    <p:spTree>
      <p:nvGrpSpPr>
        <p:cNvPr id="1" name="Shape 10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51" name="Google Shape;10851;p4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52" name="Google Shape;10852;p4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53" name="Google Shape;10853;p4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54" name="Google Shape;10854;p4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55" name="Google Shape;10855;p4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856" name="Google Shape;10856;p4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57" name="Google Shape;10857;p46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858" name="Google Shape;10858;p46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59" name="Google Shape;10859;p46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860" name="Google Shape;10860;p46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61" name="Google Shape;10861;p4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62" name="Google Shape;10862;p4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63" name="Google Shape;10863;p4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Only">
  <p:cSld name="12_Title Only">
    <p:spTree>
      <p:nvGrpSpPr>
        <p:cNvPr id="1" name="Shape 10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65" name="Google Shape;10865;p4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66" name="Google Shape;10866;p4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67" name="Google Shape;10867;p4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68" name="Google Shape;10868;p4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69" name="Google Shape;10869;p4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870" name="Google Shape;10870;p46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71" name="Google Shape;10871;p4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72" name="Google Shape;10872;p4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73" name="Google Shape;10873;p4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1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3" name="Google Shape;1113;p16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14" name="Google Shape;1114;p16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5" name="Google Shape;1115;p16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16" name="Google Shape;1116;p16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7" name="Google Shape;1117;p16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18" name="Google Shape;1118;p16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19" name="Google Shape;1119;p1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End">
  <p:cSld name="11_End">
    <p:spTree>
      <p:nvGrpSpPr>
        <p:cNvPr id="1" name="Shape 108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75" name="Google Shape;10875;p46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876" name="Google Shape;10876;p46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77" name="Google Shape;10877;p46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878" name="Google Shape;10878;p46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79" name="Google Shape;10879;p46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80" name="Google Shape;10880;p46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881" name="Google Shape;10881;p4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882" name="Google Shape;10882;p46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Blank">
  <p:cSld name="11_Blank">
    <p:spTree>
      <p:nvGrpSpPr>
        <p:cNvPr id="1" name="Shape 10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84" name="Google Shape;10884;p4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85" name="Google Shape;10885;p4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86" name="Google Shape;10886;p4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87" name="Google Shape;10887;p4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88" name="Google Shape;10888;p4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89" name="Google Shape;10889;p4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90" name="Google Shape;10890;p4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91" name="Google Shape;10891;p4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Slide">
  <p:cSld name="2_Title Slide">
    <p:spTree>
      <p:nvGrpSpPr>
        <p:cNvPr id="1" name="Shape 108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93" name="Google Shape;10893;p471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894" name="Google Shape;10894;p4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0895" name="Google Shape;10895;p471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896" name="Google Shape;10896;p471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897" name="Google Shape;10897;p471"/>
            <p:cNvPicPr preferRelativeResize="0"/>
            <p:nvPr/>
          </p:nvPicPr>
          <p:blipFill rotWithShape="1">
            <a:blip r:embed="rId3">
              <a:alphaModFix/>
            </a:blip>
            <a:srcRect l="7219" t="16937" r="72250" b="20588"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0898" name="Google Shape;10898;p471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99" name="Google Shape;10899;p471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00" name="Google Shape;10900;p471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01" name="Google Shape;10901;p471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109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03" name="Google Shape;10903;p472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04" name="Google Shape;10904;p472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05" name="Google Shape;10905;p472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06" name="Google Shape;10906;p472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07" name="Google Shape;10907;p4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0908" name="Google Shape;10908;p472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10" name="Google Shape;10910;p473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11" name="Google Shape;10911;p473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0912" name="Google Shape;10912;p47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913" name="Google Shape;10913;p4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14" name="Google Shape;10914;p4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109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16" name="Google Shape;10916;p474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17" name="Google Shape;10917;p474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0918" name="Google Shape;10918;p474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0919" name="Google Shape;10919;p47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0920" name="Google Shape;10920;p4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21" name="Google Shape;10921;p4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109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23" name="Google Shape;10923;p475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24" name="Google Shape;10924;p475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0925" name="Google Shape;10925;p475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26" name="Google Shape;10926;p475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0927" name="Google Shape;10927;p475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28" name="Google Shape;10928;p475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929" name="Google Shape;10929;p475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30" name="Google Shape;10930;p475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0931" name="Google Shape;10931;p4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109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37" name="Google Shape;10937;p67"/>
          <p:cNvGrpSpPr/>
          <p:nvPr/>
        </p:nvGrpSpPr>
        <p:grpSpPr>
          <a:xfrm>
            <a:off x="7191203" y="2"/>
            <a:ext cx="5000223" cy="1425925"/>
            <a:chOff x="7191203" y="1"/>
            <a:chExt cx="5000223" cy="1425925"/>
          </a:xfrm>
        </p:grpSpPr>
        <p:pic>
          <p:nvPicPr>
            <p:cNvPr id="10938" name="Google Shape;10938;p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6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39" name="Google Shape;10939;p6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0940" name="Google Shape;10940;p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67"/>
                  <a:buFont typeface="Arial"/>
                  <a:buNone/>
                </a:pPr>
                <a:endParaRPr sz="1867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41" name="Google Shape;10941;p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67"/>
                  <a:buFont typeface="Arial"/>
                  <a:buNone/>
                </a:pPr>
                <a:endParaRPr sz="1867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942" name="Google Shape;10942;p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0943" name="Google Shape;10943;p6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lvl="0" indent="-3175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●"/>
              <a:defRPr/>
            </a:lvl1pPr>
            <a:lvl2pPr marL="914400" lvl="1" indent="-3175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/>
            </a:lvl6pPr>
            <a:lvl7pPr marL="3200400" lvl="6" indent="-3175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/>
            </a:lvl7pPr>
            <a:lvl8pPr marL="3657600" lvl="7" indent="-3175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/>
            </a:lvl8pPr>
            <a:lvl9pPr marL="4114800" lvl="8" indent="-317500" algn="l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0944" name="Google Shape;10944;p6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45" name="Google Shape;10945;p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46" name="Google Shape;10946;p67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09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48" name="Google Shape;10948;p1126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0949" name="Google Shape;10949;p1126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0950" name="Google Shape;10950;p112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09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2" name="Google Shape;10952;p1127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0953" name="Google Shape;10953;p112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1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1" name="Google Shape;1121;p1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2" name="Google Shape;1122;p1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3" name="Google Shape;1123;p1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4" name="Google Shape;1124;p1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5" name="Google Shape;1125;p1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6" name="Google Shape;1126;p1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27" name="Google Shape;1127;p1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28" name="Google Shape;1128;p1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9" name="Google Shape;1129;p1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30" name="Google Shape;1130;p1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1" name="Google Shape;1131;p1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32" name="Google Shape;1132;p1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0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5" name="Google Shape;10955;p1128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0956" name="Google Shape;10956;p1128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0957" name="Google Shape;10957;p112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109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9" name="Google Shape;10959;p1129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0960" name="Google Shape;10960;p1129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10961" name="Google Shape;10961;p1129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10962" name="Google Shape;10962;p112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109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64" name="Google Shape;10964;p1130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0965" name="Google Shape;10965;p113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109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67" name="Google Shape;10967;p1131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10968" name="Google Shape;10968;p1131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10969" name="Google Shape;10969;p113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109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71" name="Google Shape;10971;p1132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10972" name="Google Shape;10972;p113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09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74" name="Google Shape;10974;p1133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33"/>
              <a:buFont typeface="Arial"/>
              <a:buNone/>
            </a:pPr>
            <a:endParaRPr sz="2533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75" name="Google Shape;10975;p1133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10976" name="Google Shape;10976;p1133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10977" name="Google Shape;10977;p1133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0978" name="Google Shape;10978;p113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10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80" name="Google Shape;10980;p1134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10981" name="Google Shape;10981;p113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10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83" name="Google Shape;10983;p1135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10984" name="Google Shape;10984;p1135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0985" name="Google Shape;10985;p113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09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87" name="Google Shape;10987;p113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1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4" name="Google Shape;1134;p1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5" name="Google Shape;1135;p1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6" name="Google Shape;1136;p1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7" name="Google Shape;1137;p1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8" name="Google Shape;1138;p1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9" name="Google Shape;1139;p1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40" name="Google Shape;1140;p1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1" name="Google Shape;1141;p1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2" name="Google Shape;1142;p1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3" name="Google Shape;1143;p1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4" name="Google Shape;1144;p1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45" name="Google Shape;1145;p16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" name="Google Shape;112;p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3" name="Google Shape;113;p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" name="Google Shape;114;p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" name="Google Shape;115;p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" name="Google Shape;117;p6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6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" name="Google Shape;120;p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1" name="Google Shape;121;p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1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7" name="Google Shape;1147;p1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8" name="Google Shape;1148;p1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9" name="Google Shape;1149;p1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0" name="Google Shape;1150;p1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1" name="Google Shape;1151;p1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2" name="Google Shape;1152;p1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3" name="Google Shape;1153;p16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4" name="Google Shape;1154;p1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5" name="Google Shape;1155;p1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6" name="Google Shape;1156;p1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1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9" name="Google Shape;1159;p16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60" name="Google Shape;1160;p1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1" name="Google Shape;1161;p1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2" name="Google Shape;1162;p1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3" name="Google Shape;1163;p1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4" name="Google Shape;1164;p1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5" name="Google Shape;1165;p16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6" name="Google Shape;1166;p16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7" name="Google Shape;1167;p1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8" name="Google Shape;1168;p1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1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0" name="Google Shape;1170;p1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1" name="Google Shape;1171;p1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2" name="Google Shape;1172;p1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73" name="Google Shape;1173;p1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4" name="Google Shape;1174;p1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5" name="Google Shape;1175;p1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6" name="Google Shape;1176;p16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7" name="Google Shape;1177;p16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8" name="Google Shape;1178;p16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9" name="Google Shape;1179;p16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0" name="Google Shape;1180;p1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1" name="Google Shape;1181;p1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2" name="Google Shape;1182;p1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1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4" name="Google Shape;1184;p1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5" name="Google Shape;1185;p1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6" name="Google Shape;1186;p1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7" name="Google Shape;1187;p1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8" name="Google Shape;1188;p1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89" name="Google Shape;1189;p16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0" name="Google Shape;1190;p1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1" name="Google Shape;1191;p1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2" name="Google Shape;1192;p1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1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4" name="Google Shape;1194;p1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5" name="Google Shape;1195;p1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6" name="Google Shape;1196;p1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7" name="Google Shape;1197;p1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98" name="Google Shape;1198;p1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9" name="Google Shape;1199;p1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00" name="Google Shape;1200;p1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1" name="Google Shape;1201;p1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1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3" name="Google Shape;1203;p1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4" name="Google Shape;1204;p1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5" name="Google Shape;1205;p1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6" name="Google Shape;1206;p1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7" name="Google Shape;1207;p1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08" name="Google Shape;1208;p1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09" name="Google Shape;1209;p1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10" name="Google Shape;1210;p1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11" name="Google Shape;1211;p1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12" name="Google Shape;1212;p1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3" name="Google Shape;1213;p1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14" name="Google Shape;1214;p17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1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16" name="Google Shape;1216;p17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217" name="Google Shape;1217;p17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8" name="Google Shape;1218;p17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19" name="Google Shape;1219;p17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0" name="Google Shape;1220;p17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1" name="Google Shape;1221;p17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22" name="Google Shape;1222;p1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223" name="Google Shape;1223;p17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1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5" name="Google Shape;1225;p1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26" name="Google Shape;1226;p1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27" name="Google Shape;1227;p1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28" name="Google Shape;1228;p1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29" name="Google Shape;1229;p1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30" name="Google Shape;1230;p1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31" name="Google Shape;1231;p1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2" name="Google Shape;1232;p1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3572214"/>
      </p:ext>
    </p:extLst>
  </p:cSld>
  <p:clrMapOvr>
    <a:masterClrMapping/>
  </p:clrMapOvr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549073"/>
      </p:ext>
    </p:extLst>
  </p:cSld>
  <p:clrMapOvr>
    <a:masterClrMapping/>
  </p:clrMapOvr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9295337"/>
      </p:ext>
    </p:extLst>
  </p:cSld>
  <p:clrMapOvr>
    <a:masterClrMapping/>
  </p:clrMapOvr>
</p:sldLayout>
</file>

<file path=ppt/slideLayouts/slideLayout1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8542806"/>
      </p:ext>
    </p:extLst>
  </p:cSld>
  <p:clrMapOvr>
    <a:masterClrMapping/>
  </p:clrMapOvr>
</p:sldLayout>
</file>

<file path=ppt/slideLayouts/slideLayout11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6742148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1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4" name="Google Shape;1234;p17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5" name="Google Shape;1235;p17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6" name="Google Shape;1236;p17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7" name="Google Shape;1237;p1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38" name="Google Shape;1238;p1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39" name="Google Shape;1239;p1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40" name="Google Shape;1240;p1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41" name="Google Shape;1241;p1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42" name="Google Shape;1242;p1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43" name="Google Shape;1243;p1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4" name="Google Shape;1244;p1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45" name="Google Shape;1245;p17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3143663"/>
      </p:ext>
    </p:extLst>
  </p:cSld>
  <p:clrMapOvr>
    <a:masterClrMapping/>
  </p:clrMapOvr>
</p:sldLayout>
</file>

<file path=ppt/slideLayouts/slideLayout1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690513"/>
      </p:ext>
    </p:extLst>
  </p:cSld>
  <p:clrMapOvr>
    <a:masterClrMapping/>
  </p:clrMapOvr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03572776"/>
      </p:ext>
    </p:extLst>
  </p:cSld>
  <p:clrMapOvr>
    <a:masterClrMapping/>
  </p:clrMapOvr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1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7" name="Google Shape;1247;p17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8" name="Google Shape;1248;p17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9" name="Google Shape;1249;p17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0" name="Google Shape;1250;p1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1" name="Google Shape;1251;p1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52" name="Google Shape;1252;p1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53" name="Google Shape;1253;p1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54" name="Google Shape;1254;p1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5" name="Google Shape;1255;p1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56" name="Google Shape;1256;p1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7" name="Google Shape;1257;p1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58" name="Google Shape;1258;p17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8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162186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"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3" name="Google Shape;123;p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4" name="Google Shape;124;p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" name="Google Shape;125;p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6" name="Google Shape;126;p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8" name="Google Shape;128;p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" name="Google Shape;129;p6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" name="Google Shape;130;p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1" name="Google Shape;131;p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2" name="Google Shape;132;p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1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0" name="Google Shape;1260;p175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1" name="Google Shape;1261;p175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62" name="Google Shape;1262;p1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263" name="Google Shape;1263;p175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64" name="Google Shape;1264;p17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265" name="Google Shape;1265;p175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6" name="Google Shape;1266;p175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7" name="Google Shape;1267;p175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8" name="Google Shape;1268;p1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9" name="Google Shape;1269;p17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70" name="Google Shape;1270;p1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1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" name="Google Shape;1272;p17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3" name="Google Shape;1273;p17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4" name="Google Shape;1274;p1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5" name="Google Shape;1275;p1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76" name="Google Shape;1276;p1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77" name="Google Shape;1277;p1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78" name="Google Shape;1278;p1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79" name="Google Shape;1279;p1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80" name="Google Shape;1280;p1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81" name="Google Shape;1281;p1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2" name="Google Shape;1282;p1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83" name="Google Shape;1283;p17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1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5" name="Google Shape;1285;p17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6" name="Google Shape;1286;p17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7" name="Google Shape;1287;p17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8" name="Google Shape;1288;p1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89" name="Google Shape;1289;p1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90" name="Google Shape;1290;p1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91" name="Google Shape;1291;p1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92" name="Google Shape;1292;p1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93" name="Google Shape;1293;p1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94" name="Google Shape;1294;p1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5" name="Google Shape;1295;p1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96" name="Google Shape;1296;p17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1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8" name="Google Shape;1298;p17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9" name="Google Shape;1299;p1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0" name="Google Shape;1300;p1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1" name="Google Shape;1301;p1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02" name="Google Shape;1302;p1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03" name="Google Shape;1303;p1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04" name="Google Shape;1304;p1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05" name="Google Shape;1305;p1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06" name="Google Shape;1306;p1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07" name="Google Shape;1307;p1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8" name="Google Shape;1308;p1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09" name="Google Shape;1309;p17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1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1" name="Google Shape;1311;p1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2" name="Google Shape;1312;p1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3" name="Google Shape;1313;p1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4" name="Google Shape;1314;p1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15" name="Google Shape;1315;p1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16" name="Google Shape;1316;p1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17" name="Google Shape;1317;p1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18" name="Google Shape;1318;p1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19" name="Google Shape;1319;p1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20" name="Google Shape;1320;p1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1" name="Google Shape;1321;p1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22" name="Google Shape;1322;p1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8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1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4" name="Google Shape;1324;p18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5" name="Google Shape;1325;p1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6" name="Google Shape;1326;p1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7" name="Google Shape;1327;p1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28" name="Google Shape;1328;p1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29" name="Google Shape;1329;p1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30" name="Google Shape;1330;p1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31" name="Google Shape;1331;p1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32" name="Google Shape;1332;p1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33" name="Google Shape;1333;p1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4" name="Google Shape;1334;p1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35" name="Google Shape;1335;p18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812348"/>
      </p:ext>
    </p:extLst>
  </p:cSld>
  <p:clrMapOvr>
    <a:masterClrMapping/>
  </p:clrMapOvr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1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Google Shape;1337;p18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8" name="Google Shape;1338;p18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9" name="Google Shape;1339;p18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40" name="Google Shape;1340;p18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41" name="Google Shape;1341;p18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342" name="Google Shape;1342;p18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3" name="Google Shape;1343;p18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44" name="Google Shape;1344;p1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2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bg>
      <p:bgPr>
        <a:solidFill>
          <a:schemeClr val="lt2"/>
        </a:solidFill>
        <a:effectLst/>
      </p:bgPr>
    </p:bg>
    <p:spTree>
      <p:nvGrpSpPr>
        <p:cNvPr id="1" name="Shape 1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46" name="Google Shape;1346;p18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347" name="Google Shape;1347;p18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8" name="Google Shape;1348;p18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9" name="Google Shape;1349;p18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50" name="Google Shape;1350;p1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51" name="Google Shape;1351;p18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2" name="Google Shape;1352;p18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2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2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2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2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2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2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1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4" name="Google Shape;1354;p18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55" name="Google Shape;1355;p18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56" name="Google Shape;1356;p18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357" name="Google Shape;1357;p18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8" name="Google Shape;1358;p18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59" name="Google Shape;1359;p18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360" name="Google Shape;1360;p1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2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2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2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1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2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1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2" name="Google Shape;1362;p18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3" name="Google Shape;1363;p18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4" name="Google Shape;1364;p18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5" name="Google Shape;1365;p1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6" name="Google Shape;1366;p1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67" name="Google Shape;1367;p1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68" name="Google Shape;1368;p1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69" name="Google Shape;1369;p1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70" name="Google Shape;1370;p1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71" name="Google Shape;1371;p1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2" name="Google Shape;1372;p1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73" name="Google Shape;1373;p18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2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2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2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2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2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6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" name="Google Shape;135;p6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" name="Google Shape;136;p6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7" name="Google Shape;137;p6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8" name="Google Shape;138;p6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39" name="Google Shape;139;p6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140;p6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1" name="Google Shape;141;p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4">
    <p:spTree>
      <p:nvGrpSpPr>
        <p:cNvPr id="1" name="Shape 1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75" name="Google Shape;1375;p1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76" name="Google Shape;1376;p1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77" name="Google Shape;1377;p1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78" name="Google Shape;1378;p1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9" name="Google Shape;1379;p1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80" name="Google Shape;1380;p18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1" name="Google Shape;1381;p18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2" name="Google Shape;1382;p1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83" name="Google Shape;1383;p1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84" name="Google Shape;1384;p1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3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3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1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13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1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13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1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6" name="Google Shape;1386;p18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7" name="Google Shape;1387;p18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388" name="Google Shape;1388;p1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89" name="Google Shape;1389;p1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90" name="Google Shape;1390;p1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91" name="Google Shape;1391;p1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2" name="Google Shape;1392;p1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93" name="Google Shape;1393;p18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4" name="Google Shape;1394;p18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95" name="Google Shape;1395;p1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96" name="Google Shape;1396;p1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3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13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9/18/2023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13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9/18/2023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1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13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1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1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13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1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98" name="Google Shape;1398;p1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99" name="Google Shape;1399;p1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00" name="Google Shape;1400;p1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01" name="Google Shape;1401;p1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2" name="Google Shape;1402;p1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03" name="Google Shape;1403;p1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4" name="Google Shape;1404;p18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05" name="Google Shape;1405;p18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6" name="Google Shape;1406;p18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07" name="Google Shape;1407;p18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8" name="Google Shape;1408;p1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09" name="Google Shape;1409;p1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10" name="Google Shape;1410;p1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13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13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1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3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13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3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13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1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12" name="Google Shape;1412;p1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13" name="Google Shape;1413;p1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14" name="Google Shape;1414;p1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15" name="Google Shape;1415;p1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6" name="Google Shape;1416;p1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17" name="Google Shape;1417;p18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8" name="Google Shape;1418;p1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19" name="Google Shape;1419;p1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0" name="Google Shape;1420;p1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3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3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3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3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oogle Shape;15;p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" name="Google Shape;16;p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" name="Google Shape;17;p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" name="Google Shape;18;p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" name="Google Shape;19;p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" name="Google Shape;20;p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" name="Google Shape;22;p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" name="Google Shape;23;p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" name="Google Shape;24;p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" name="Google Shape;27;p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9" name="Google Shape;29;p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0" name="Google Shape;30;p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1" name="Google Shape;31;p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32;p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3" name="Google Shape;33;p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oogle Shape;35;p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" name="Google Shape;36;p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" name="Google Shape;37;p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8" name="Google Shape;38;p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" name="Google Shape;39;p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" name="Google Shape;40;p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" name="Google Shape;43;p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" name="Google Shape;44;p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8" name="Google Shape;48;p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" name="Google Shape;49;p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" name="Google Shape;50;p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" name="Google Shape;51;p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" name="Google Shape;52;p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" name="Google Shape;53;p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" name="Google Shape;55;p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" name="Google Shape;56;p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14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22" name="Google Shape;1422;p18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423" name="Google Shape;1423;p18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4" name="Google Shape;1424;p18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25" name="Google Shape;1425;p18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6" name="Google Shape;1426;p18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7" name="Google Shape;1427;p18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28" name="Google Shape;1428;p1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429" name="Google Shape;1429;p18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" name="Google Shape;81;p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" name="Google Shape;82;p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" name="Google Shape;83;p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4" name="Google Shape;84;p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6" name="Google Shape;86;p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" name="Google Shape;89;p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" name="Google Shape;90;p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" name="Google Shape;93;p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" name="Google Shape;94;p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" name="Google Shape;95;p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" name="Google Shape;96;p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" name="Google Shape;97;p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" name="Google Shape;98;p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3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" name="Google Shape;101;p1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2" name="Google Shape;102;p1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" name="Google Shape;103;p1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" name="Google Shape;104;p1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5" name="Google Shape;105;p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6" name="Google Shape;106;p1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1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oogle Shape;117;p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" name="Google Shape;118;p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" name="Google Shape;119;p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0" name="Google Shape;120;p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2" name="Google Shape;122;p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" name="Google Shape;123;p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" name="Google Shape;125;p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6" name="Google Shape;126;p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8" name="Google Shape;128;p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9" name="Google Shape;129;p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0" name="Google Shape;130;p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1" name="Google Shape;131;p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3" name="Google Shape;133;p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" name="Google Shape;136;p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7" name="Google Shape;137;p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9" name="Google Shape;139;p1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0" name="Google Shape;140;p1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141;p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142;p1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3" name="Google Shape;143;p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4" name="Google Shape;144;p1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1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7" name="Google Shape;147;p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8" name="Google Shape;148;p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9" name="Google Shape;149;p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0" name="Google Shape;150;p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2" name="Google Shape;152;p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" name="Google Shape;153;p1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5" name="Google Shape;155;p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" name="Google Shape;156;p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1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1" name="Google Shape;1431;p1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32" name="Google Shape;1432;p1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33" name="Google Shape;1433;p1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34" name="Google Shape;1434;p1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35" name="Google Shape;1435;p1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36" name="Google Shape;1436;p1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37" name="Google Shape;1437;p1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8" name="Google Shape;1438;p1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3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8" name="Google Shape;158;p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9" name="Google Shape;159;p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0" name="Google Shape;160;p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1" name="Google Shape;161;p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3" name="Google Shape;163;p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1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" name="Google Shape;165;p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6" name="Google Shape;166;p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7" name="Google Shape;167;p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p1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" name="Google Shape;170;p1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1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2" name="Google Shape;172;p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73" name="Google Shape;173;p1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4" name="Google Shape;174;p1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6" name="Google Shape;176;p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8" name="Google Shape;178;p1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9" name="Google Shape;179;p1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2" name="Google Shape;182;p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3" name="Google Shape;183;p1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" name="Google Shape;184;p1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1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7" name="Google Shape;187;p1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8" name="Google Shape;188;p1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9" name="Google Shape;189;p1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1" name="Google Shape;191;p1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92" name="Google Shape;192;p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2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" name="Google Shape;195;p2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" name="Google Shape;196;p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" name="Google Shape;197;p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8" name="Google Shape;198;p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9" name="Google Shape;199;p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00" name="Google Shape;200;p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1" name="Google Shape;201;p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2" name="Google Shape;202;p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03" name="Google Shape;203;p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4" name="Google Shape;204;p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05" name="Google Shape;205;p2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7" name="Google Shape;207;p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8" name="Google Shape;208;p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9" name="Google Shape;209;p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0" name="Google Shape;210;p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" name="Google Shape;213;p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4" name="Google Shape;214;p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5" name="Google Shape;215;p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6" name="Google Shape;216;p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" name="Google Shape;219;p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20" name="Google Shape;220;p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1" name="Google Shape;221;p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" name="Google Shape;222;p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3" name="Google Shape;223;p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5" name="Google Shape;225;p2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6" name="Google Shape;226;p2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7" name="Google Shape;227;p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8" name="Google Shape;228;p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0" name="Google Shape;230;p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1" name="Google Shape;231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2" name="Google Shape;232;p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33" name="Google Shape;233;p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5" name="Google Shape;235;p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6" name="Google Shape;236;p2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7" name="Google Shape;237;p2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8" name="Google Shape;238;p2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9" name="Google Shape;239;p2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0" name="Google Shape;240;p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1" name="Google Shape;241;p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2" name="Google Shape;242;p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4" name="Google Shape;244;p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5" name="Google Shape;245;p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6" name="Google Shape;246;p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7" name="Google Shape;247;p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9" name="Google Shape;249;p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0" name="Google Shape;250;p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1" name="Google Shape;251;p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2" name="Google Shape;252;p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4" name="Google Shape;254;p2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55" name="Google Shape;255;p2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2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7" name="Google Shape;257;p2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258;p2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9" name="Google Shape;259;p2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60" name="Google Shape;260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61" name="Google Shape;261;p2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1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0" name="Google Shape;1440;p19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1" name="Google Shape;1441;p19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2" name="Google Shape;1442;p19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43" name="Google Shape;1443;p19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44" name="Google Shape;1444;p19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445" name="Google Shape;1445;p19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6" name="Google Shape;1446;p19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47" name="Google Shape;1447;p1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Google Shape;263;p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4" name="Google Shape;264;p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5" name="Google Shape;265;p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6" name="Google Shape;266;p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7" name="Google Shape;267;p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8" name="Google Shape;268;p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9" name="Google Shape;269;p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0" name="Google Shape;270;p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3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p2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3" name="Google Shape;273;p2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4" name="Google Shape;274;p2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" name="Google Shape;275;p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6" name="Google Shape;276;p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7" name="Google Shape;277;p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8" name="Google Shape;278;p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9" name="Google Shape;279;p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0" name="Google Shape;280;p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1" name="Google Shape;281;p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2" name="Google Shape;282;p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3" name="Google Shape;283;p2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Google Shape;285;p2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6" name="Google Shape;286;p2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" name="Google Shape;287;p2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88" name="Google Shape;288;p2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89" name="Google Shape;289;p2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90" name="Google Shape;290;p2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" name="Google Shape;291;p2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2" name="Google Shape;292;p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bg>
      <p:bgPr>
        <a:solidFill>
          <a:schemeClr val="lt2"/>
        </a:solidFill>
        <a:effectLst/>
      </p:bgPr>
    </p:bg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4" name="Google Shape;294;p2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95" name="Google Shape;295;p2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6" name="Google Shape;296;p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7" name="Google Shape;297;p2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8" name="Google Shape;298;p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99" name="Google Shape;299;p2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0" name="Google Shape;300;p2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Google Shape;302;p3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03" name="Google Shape;303;p3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04" name="Google Shape;304;p3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05" name="Google Shape;305;p3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6" name="Google Shape;306;p3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7" name="Google Shape;307;p3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08" name="Google Shape;308;p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3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311;p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2" name="Google Shape;312;p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3" name="Google Shape;313;p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4" name="Google Shape;314;p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5" name="Google Shape;315;p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6" name="Google Shape;316;p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7" name="Google Shape;317;p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8" name="Google Shape;318;p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9" name="Google Shape;319;p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21" name="Google Shape;321;p3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3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4" name="Google Shape;324;p3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25" name="Google Shape;325;p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6" name="Google Shape;326;p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7" name="Google Shape;327;p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8" name="Google Shape;328;p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0" name="Google Shape;330;p3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1" name="Google Shape;331;p3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2" name="Google Shape;332;p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3" name="Google Shape;333;p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5" name="Google Shape;335;p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6" name="Google Shape;336;p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7" name="Google Shape;337;p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8" name="Google Shape;338;p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9" name="Google Shape;339;p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40" name="Google Shape;340;p3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1" name="Google Shape;341;p3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42" name="Google Shape;342;p3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3" name="Google Shape;343;p3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44" name="Google Shape;344;p3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5" name="Google Shape;345;p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6" name="Google Shape;346;p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7" name="Google Shape;347;p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9" name="Google Shape;349;p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0" name="Google Shape;350;p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1" name="Google Shape;351;p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2" name="Google Shape;352;p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3" name="Google Shape;353;p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4" name="Google Shape;354;p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5" name="Google Shape;355;p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6" name="Google Shape;356;p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7" name="Google Shape;357;p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9" name="Google Shape;359;p3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60" name="Google Shape;360;p3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3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2" name="Google Shape;362;p3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3" name="Google Shape;363;p3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4" name="Google Shape;364;p3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65" name="Google Shape;365;p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66" name="Google Shape;366;p3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14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9" name="Google Shape;1449;p19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50" name="Google Shape;1450;p19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1" name="Google Shape;1451;p19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2" name="Google Shape;1452;p19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53" name="Google Shape;1453;p1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54" name="Google Shape;1454;p19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5" name="Google Shape;1455;p19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p3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9" name="Google Shape;369;p3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0" name="Google Shape;370;p3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1" name="Google Shape;371;p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2" name="Google Shape;372;p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3" name="Google Shape;373;p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4" name="Google Shape;374;p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5" name="Google Shape;375;p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6" name="Google Shape;376;p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7" name="Google Shape;377;p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8" name="Google Shape;378;p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79" name="Google Shape;379;p3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" name="Google Shape;381;p3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2" name="Google Shape;382;p3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3" name="Google Shape;383;p3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4" name="Google Shape;384;p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85" name="Google Shape;385;p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6" name="Google Shape;386;p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87" name="Google Shape;387;p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88" name="Google Shape;388;p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9" name="Google Shape;389;p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0" name="Google Shape;390;p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1" name="Google Shape;391;p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92" name="Google Shape;392;p3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Google Shape;394;p3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5" name="Google Shape;395;p3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6" name="Google Shape;396;p3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97" name="Google Shape;397;p3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98" name="Google Shape;398;p3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99" name="Google Shape;399;p3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0" name="Google Shape;400;p3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01" name="Google Shape;401;p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bg>
      <p:bgPr>
        <a:solidFill>
          <a:schemeClr val="lt2"/>
        </a:solidFill>
        <a:effectLst/>
      </p:bgPr>
    </p:bg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3" name="Google Shape;403;p3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04" name="Google Shape;404;p3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5" name="Google Shape;405;p3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6" name="Google Shape;406;p3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07" name="Google Shape;407;p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08" name="Google Shape;408;p3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9" name="Google Shape;409;p3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p4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12" name="Google Shape;412;p4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13" name="Google Shape;413;p4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14" name="Google Shape;414;p4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4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16" name="Google Shape;416;p4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17" name="Google Shape;417;p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Google Shape;419;p4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0" name="Google Shape;420;p4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1" name="Google Shape;421;p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2" name="Google Shape;422;p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3" name="Google Shape;423;p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4" name="Google Shape;424;p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25" name="Google Shape;425;p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6" name="Google Shape;426;p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7" name="Google Shape;427;p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8" name="Google Shape;428;p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9" name="Google Shape;429;p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30" name="Google Shape;430;p4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2" name="Google Shape;432;p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3" name="Google Shape;433;p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4" name="Google Shape;434;p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5" name="Google Shape;435;p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7" name="Google Shape;437;p4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8" name="Google Shape;438;p4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9" name="Google Shape;439;p4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0" name="Google Shape;440;p4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41" name="Google Shape;441;p4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2" name="Google Shape;442;p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3" name="Google Shape;443;p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4" name="Google Shape;444;p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6" name="Google Shape;446;p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7" name="Google Shape;447;p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8" name="Google Shape;448;p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9" name="Google Shape;449;p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1" name="Google Shape;451;p4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2" name="Google Shape;452;p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3" name="Google Shape;453;p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4" name="Google Shape;454;p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Google Shape;456;p4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7" name="Google Shape;457;p4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8" name="Google Shape;458;p4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59" name="Google Shape;459;p4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60" name="Google Shape;460;p4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61" name="Google Shape;461;p4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2" name="Google Shape;462;p4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3" name="Google Shape;463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5" name="Google Shape;465;p4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66" name="Google Shape;466;p4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7" name="Google Shape;467;p4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8" name="Google Shape;468;p4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9" name="Google Shape;469;p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70" name="Google Shape;470;p4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1" name="Google Shape;471;p4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14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7" name="Google Shape;1457;p19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58" name="Google Shape;1458;p19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459" name="Google Shape;1459;p19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460" name="Google Shape;1460;p19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1" name="Google Shape;1461;p19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62" name="Google Shape;1462;p19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463" name="Google Shape;1463;p1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4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3" name="Google Shape;473;p4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74" name="Google Shape;474;p4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75" name="Google Shape;475;p4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76" name="Google Shape;476;p4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4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8" name="Google Shape;478;p4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79" name="Google Shape;479;p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4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" name="Google Shape;481;p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2" name="Google Shape;482;p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3" name="Google Shape;483;p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4" name="Google Shape;484;p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5" name="Google Shape;485;p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6" name="Google Shape;486;p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7" name="Google Shape;487;p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8" name="Google Shape;488;p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9" name="Google Shape;489;p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0" name="Google Shape;490;p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1" name="Google Shape;491;p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92" name="Google Shape;492;p4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" name="Google Shape;494;p4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5" name="Google Shape;495;p4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6" name="Google Shape;496;p4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7" name="Google Shape;497;p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8" name="Google Shape;498;p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9" name="Google Shape;499;p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00" name="Google Shape;500;p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1" name="Google Shape;501;p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2" name="Google Shape;502;p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3" name="Google Shape;503;p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5" name="Google Shape;505;p4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Google Shape;507;p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8" name="Google Shape;508;p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09" name="Google Shape;509;p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0" name="Google Shape;510;p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1" name="Google Shape;511;p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2" name="Google Shape;512;p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4" name="Google Shape;514;p4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5" name="Google Shape;515;p4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6" name="Google Shape;516;p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7" name="Google Shape;517;p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5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9" name="Google Shape;519;p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0" name="Google Shape;520;p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1" name="Google Shape;521;p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2" name="Google Shape;522;p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3" name="Google Shape;523;p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4" name="Google Shape;524;p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5" name="Google Shape;525;p5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6" name="Google Shape;526;p5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7" name="Google Shape;527;p5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8" name="Google Shape;528;p5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9" name="Google Shape;529;p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0" name="Google Shape;530;p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1" name="Google Shape;531;p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3" name="Google Shape;533;p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4" name="Google Shape;534;p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5" name="Google Shape;535;p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6" name="Google Shape;536;p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7" name="Google Shape;537;p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8" name="Google Shape;538;p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9" name="Google Shape;539;p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0" name="Google Shape;540;p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1" name="Google Shape;541;p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3" name="Google Shape;543;p5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44" name="Google Shape;544;p5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" name="Google Shape;545;p5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46" name="Google Shape;546;p5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7" name="Google Shape;547;p5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8" name="Google Shape;548;p5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49" name="Google Shape;549;p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50" name="Google Shape;550;p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Google Shape;552;p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3" name="Google Shape;553;p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4" name="Google Shape;554;p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55" name="Google Shape;555;p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6" name="Google Shape;556;p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7" name="Google Shape;557;p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8" name="Google Shape;558;p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9" name="Google Shape;559;p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3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5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1" name="Google Shape;561;p54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2" name="Google Shape;562;p54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563" name="Google Shape;563;p54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564" name="Google Shape;564;p54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5" name="Google Shape;565;p54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66" name="Google Shape;566;p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bg>
      <p:bgPr>
        <a:solidFill>
          <a:schemeClr val="lt2"/>
        </a:solidFill>
        <a:effectLst/>
      </p:bgPr>
    </p:bg>
    <p:spTree>
      <p:nvGrpSpPr>
        <p:cNvPr id="1" name="Shape 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8" name="Google Shape;568;p5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69" name="Google Shape;569;p5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0" name="Google Shape;570;p5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1" name="Google Shape;571;p5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72" name="Google Shape;572;p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73" name="Google Shape;573;p5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5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1">
    <p:spTree>
      <p:nvGrpSpPr>
        <p:cNvPr id="1" name="Shape 1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5" name="Google Shape;1465;p19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6" name="Google Shape;1466;p19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7" name="Google Shape;1467;p19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8" name="Google Shape;1468;p1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69" name="Google Shape;1469;p1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0" name="Google Shape;1470;p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71" name="Google Shape;1471;p1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2" name="Google Shape;1472;p1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73" name="Google Shape;1473;p1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74" name="Google Shape;1474;p1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5" name="Google Shape;1475;p1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76" name="Google Shape;1476;p19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5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6" name="Google Shape;576;p5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77" name="Google Shape;577;p5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78" name="Google Shape;578;p5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79" name="Google Shape;579;p5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0" name="Google Shape;580;p5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81" name="Google Shape;581;p5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82" name="Google Shape;582;p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5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4" name="Google Shape;584;p5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5" name="Google Shape;585;p5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6" name="Google Shape;586;p5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87" name="Google Shape;587;p5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88" name="Google Shape;588;p5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89" name="Google Shape;589;p5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0" name="Google Shape;590;p5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91" name="Google Shape;591;p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3" name="Google Shape;593;p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4" name="Google Shape;594;p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5" name="Google Shape;595;p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6" name="Google Shape;596;p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7" name="Google Shape;597;p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8" name="Google Shape;598;p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9" name="Google Shape;599;p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0" name="Google Shape;600;p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1" name="Google Shape;601;p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2" name="Google Shape;602;p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" name="Google Shape;604;p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5" name="Google Shape;605;p5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06" name="Google Shape;606;p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7" name="Google Shape;607;p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8" name="Google Shape;608;p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9" name="Google Shape;609;p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0" name="Google Shape;610;p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1" name="Google Shape;611;p5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2" name="Google Shape;612;p5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3" name="Google Shape;613;p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4" name="Google Shape;614;p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6" name="Google Shape;616;p6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7" name="Google Shape;617;p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8" name="Google Shape;618;p6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9" name="Google Shape;619;p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0" name="Google Shape;620;p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21" name="Google Shape;621;p6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2" name="Google Shape;622;p6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23" name="Google Shape;623;p6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4" name="Google Shape;624;p6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25" name="Google Shape;625;p6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6" name="Google Shape;626;p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7" name="Google Shape;627;p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8" name="Google Shape;628;p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Google Shape;630;p6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1" name="Google Shape;631;p6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6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3" name="Google Shape;633;p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4" name="Google Shape;634;p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5" name="Google Shape;635;p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36" name="Google Shape;636;p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7" name="Google Shape;637;p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8" name="Google Shape;638;p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9" name="Google Shape;639;p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0" name="Google Shape;640;p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41" name="Google Shape;641;p6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3" name="Google Shape;643;p6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44" name="Google Shape;644;p6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5" name="Google Shape;645;p6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6" name="Google Shape;646;p6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Google Shape;647;p6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8" name="Google Shape;648;p6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49" name="Google Shape;649;p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50" name="Google Shape;650;p6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6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2" name="Google Shape;652;p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3" name="Google Shape;653;p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4" name="Google Shape;654;p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5" name="Google Shape;655;p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6" name="Google Shape;656;p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7" name="Google Shape;657;p6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8" name="Google Shape;658;p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9" name="Google Shape;659;p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0" name="Google Shape;660;p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2" name="Google Shape;662;p6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63" name="Google Shape;663;p6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4" name="Google Shape;664;p6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65" name="Google Shape;665;p6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6" name="Google Shape;666;p6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7" name="Google Shape;667;p6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68" name="Google Shape;668;p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69" name="Google Shape;669;p6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2" name="Google Shape;672;p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3" name="Google Shape;673;p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74" name="Google Shape;674;p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5" name="Google Shape;675;p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6" name="Google Shape;676;p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7" name="Google Shape;677;p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8" name="Google Shape;678;p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bg>
      <p:bgPr>
        <a:solidFill>
          <a:schemeClr val="lt2"/>
        </a:solidFill>
        <a:effectLst/>
      </p:bgPr>
    </p:bg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" name="Google Shape;143;p6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4" name="Google Shape;144;p6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145;p6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146;p6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7" name="Google Shape;147;p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8" name="Google Shape;148;p6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p6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5">
    <p:spTree>
      <p:nvGrpSpPr>
        <p:cNvPr id="1" name="Shape 1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78" name="Google Shape;1478;p1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9" name="Google Shape;1479;p1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80" name="Google Shape;1480;p1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81" name="Google Shape;1481;p1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2" name="Google Shape;1482;p1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83" name="Google Shape;1483;p1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4" name="Google Shape;1484;p19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5" name="Google Shape;1485;p1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86" name="Google Shape;1486;p1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87" name="Google Shape;1487;p1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" name="Google Shape;680;p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1" name="Google Shape;681;p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2" name="Google Shape;682;p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3" name="Google Shape;683;p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4" name="Google Shape;684;p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5" name="Google Shape;685;p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86" name="Google Shape;686;p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7" name="Google Shape;687;p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8" name="Google Shape;688;p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9" name="Google Shape;689;p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0" name="Google Shape;690;p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1" name="Google Shape;691;p6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6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3" name="Google Shape;693;p6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4" name="Google Shape;694;p6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5" name="Google Shape;695;p6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96" name="Google Shape;696;p6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97" name="Google Shape;697;p6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98" name="Google Shape;698;p6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9" name="Google Shape;699;p6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00" name="Google Shape;700;p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4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bg>
      <p:bgPr>
        <a:solidFill>
          <a:schemeClr val="lt2"/>
        </a:solidFill>
        <a:effectLst/>
      </p:bgPr>
    </p:bg>
    <p:spTree>
      <p:nvGrpSpPr>
        <p:cNvPr id="1" name="Shape 7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2" name="Google Shape;702;p6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03" name="Google Shape;703;p6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4" name="Google Shape;704;p6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5" name="Google Shape;705;p6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06" name="Google Shape;706;p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07" name="Google Shape;707;p6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8" name="Google Shape;708;p6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" name="Google Shape;710;p6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11" name="Google Shape;711;p6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12" name="Google Shape;712;p6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13" name="Google Shape;713;p6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4" name="Google Shape;714;p6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15" name="Google Shape;715;p6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16" name="Google Shape;716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7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8" name="Google Shape;718;p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9" name="Google Shape;719;p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0" name="Google Shape;720;p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1" name="Google Shape;721;p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2" name="Google Shape;722;p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3" name="Google Shape;723;p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24" name="Google Shape;724;p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5" name="Google Shape;725;p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6" name="Google Shape;726;p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7" name="Google Shape;727;p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8" name="Google Shape;728;p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29" name="Google Shape;729;p7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1" name="Google Shape;731;p7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2" name="Google Shape;732;p7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3" name="Google Shape;733;p7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4" name="Google Shape;734;p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5" name="Google Shape;735;p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6" name="Google Shape;736;p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37" name="Google Shape;737;p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8" name="Google Shape;738;p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9" name="Google Shape;739;p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0" name="Google Shape;740;p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1" name="Google Shape;741;p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42" name="Google Shape;742;p7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7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4" name="Google Shape;744;p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5" name="Google Shape;745;p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6" name="Google Shape;746;p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7" name="Google Shape;747;p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8" name="Google Shape;748;p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9" name="Google Shape;749;p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0" name="Google Shape;750;p7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1" name="Google Shape;751;p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52" name="Google Shape;752;p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53" name="Google Shape;753;p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7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5" name="Google Shape;755;p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6" name="Google Shape;756;p7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57" name="Google Shape;757;p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58" name="Google Shape;758;p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59" name="Google Shape;759;p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60" name="Google Shape;760;p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1" name="Google Shape;761;p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2" name="Google Shape;762;p7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3" name="Google Shape;763;p7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64" name="Google Shape;764;p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65" name="Google Shape;765;p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7" name="Google Shape;767;p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68" name="Google Shape;768;p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69" name="Google Shape;769;p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70" name="Google Shape;770;p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1" name="Google Shape;771;p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72" name="Google Shape;772;p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3" name="Google Shape;773;p7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74" name="Google Shape;774;p7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5" name="Google Shape;775;p7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76" name="Google Shape;776;p7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7" name="Google Shape;777;p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78" name="Google Shape;778;p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79" name="Google Shape;779;p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7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1" name="Google Shape;781;p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82" name="Google Shape;782;p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3" name="Google Shape;783;p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84" name="Google Shape;784;p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5" name="Google Shape;785;p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86" name="Google Shape;786;p7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7" name="Google Shape;787;p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8" name="Google Shape;788;p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89" name="Google Shape;789;p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1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9" name="Google Shape;1489;p1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0" name="Google Shape;1490;p19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91" name="Google Shape;1491;p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92" name="Google Shape;1492;p1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93" name="Google Shape;1493;p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94" name="Google Shape;1494;p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5" name="Google Shape;1495;p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96" name="Google Shape;1496;p19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7" name="Google Shape;1497;p19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98" name="Google Shape;1498;p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99" name="Google Shape;1499;p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7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1" name="Google Shape;791;p7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92" name="Google Shape;792;p7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3" name="Google Shape;793;p7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94" name="Google Shape;794;p7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5" name="Google Shape;795;p7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6" name="Google Shape;796;p7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97" name="Google Shape;797;p7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98" name="Google Shape;798;p7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4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7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0" name="Google Shape;800;p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1" name="Google Shape;801;p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2" name="Google Shape;802;p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03" name="Google Shape;803;p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4" name="Google Shape;804;p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5" name="Google Shape;805;p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6" name="Google Shape;806;p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7" name="Google Shape;807;p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4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8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" name="Google Shape;809;p7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0" name="Google Shape;810;p7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1" name="Google Shape;811;p7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12" name="Google Shape;812;p7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13" name="Google Shape;813;p7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14" name="Google Shape;814;p7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5" name="Google Shape;815;p7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16" name="Google Shape;816;p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4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bg>
      <p:bgPr>
        <a:solidFill>
          <a:schemeClr val="lt2"/>
        </a:solidFill>
        <a:effectLst/>
      </p:bgPr>
    </p:bg>
    <p:spTree>
      <p:nvGrpSpPr>
        <p:cNvPr id="1" name="Shape 8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8" name="Google Shape;818;p7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19" name="Google Shape;819;p7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0" name="Google Shape;820;p7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1" name="Google Shape;821;p7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22" name="Google Shape;822;p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23" name="Google Shape;823;p7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7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6" name="Google Shape;826;p8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7" name="Google Shape;827;p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8" name="Google Shape;828;p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9" name="Google Shape;829;p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0" name="Google Shape;830;p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1" name="Google Shape;831;p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32" name="Google Shape;832;p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3" name="Google Shape;833;p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4" name="Google Shape;834;p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5" name="Google Shape;835;p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6" name="Google Shape;836;p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37" name="Google Shape;837;p8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8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9" name="Google Shape;839;p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40" name="Google Shape;840;p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1" name="Google Shape;841;p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42" name="Google Shape;842;p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3" name="Google Shape;843;p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44" name="Google Shape;844;p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5" name="Google Shape;845;p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6" name="Google Shape;846;p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7" name="Google Shape;847;p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8" name="Google Shape;848;p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8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0" name="Google Shape;850;p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1" name="Google Shape;851;p8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52" name="Google Shape;852;p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53" name="Google Shape;853;p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4" name="Google Shape;854;p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55" name="Google Shape;855;p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6" name="Google Shape;856;p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57" name="Google Shape;857;p8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8" name="Google Shape;858;p8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9" name="Google Shape;859;p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0" name="Google Shape;860;p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8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2" name="Google Shape;862;p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3" name="Google Shape;863;p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4" name="Google Shape;864;p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5" name="Google Shape;865;p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6" name="Google Shape;866;p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67" name="Google Shape;867;p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8" name="Google Shape;868;p8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69" name="Google Shape;869;p8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0" name="Google Shape;870;p8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71" name="Google Shape;871;p8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2" name="Google Shape;872;p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3" name="Google Shape;873;p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4" name="Google Shape;874;p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8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6" name="Google Shape;876;p8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77" name="Google Shape;877;p8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78" name="Google Shape;878;p8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79" name="Google Shape;879;p8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0" name="Google Shape;880;p8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81" name="Google Shape;881;p8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82" name="Google Shape;882;p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4" name="Google Shape;884;p8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85" name="Google Shape;885;p8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6" name="Google Shape;886;p8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87" name="Google Shape;887;p8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8" name="Google Shape;888;p8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9" name="Google Shape;889;p8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90" name="Google Shape;890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8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1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01" name="Google Shape;1501;p1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02" name="Google Shape;1502;p1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03" name="Google Shape;1503;p1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04" name="Google Shape;1504;p1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5" name="Google Shape;1505;p1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06" name="Google Shape;1506;p1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7" name="Google Shape;1507;p19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08" name="Google Shape;1508;p19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9" name="Google Shape;1509;p19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10" name="Google Shape;1510;p19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1" name="Google Shape;1511;p1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2" name="Google Shape;1512;p1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3" name="Google Shape;1513;p1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8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3" name="Google Shape;893;p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4" name="Google Shape;894;p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5" name="Google Shape;895;p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96" name="Google Shape;896;p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7" name="Google Shape;897;p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8" name="Google Shape;898;p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9" name="Google Shape;899;p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0" name="Google Shape;900;p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4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2" name="Google Shape;902;p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3" name="Google Shape;903;p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4" name="Google Shape;904;p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5" name="Google Shape;905;p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6" name="Google Shape;906;p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7" name="Google Shape;907;p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8" name="Google Shape;908;p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9" name="Google Shape;909;p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0" name="Google Shape;910;p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2">
    <p:spTree>
      <p:nvGrpSpPr>
        <p:cNvPr id="1" name="Shape 9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2" name="Google Shape;912;p88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3" name="Google Shape;913;p88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914" name="Google Shape;914;p88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915" name="Google Shape;915;p88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6" name="Google Shape;916;p88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917" name="Google Shape;917;p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0" name="Google Shape;920;p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1" name="Google Shape;921;p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2" name="Google Shape;922;p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3" name="Google Shape;923;p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4" name="Google Shape;924;p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5" name="Google Shape;925;p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6" name="Google Shape;926;p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7" name="Google Shape;927;p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8" name="Google Shape;928;p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9" name="Google Shape;929;p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0" name="Google Shape;930;p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9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2" name="Google Shape;932;p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3" name="Google Shape;933;p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4" name="Google Shape;934;p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5" name="Google Shape;935;p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6" name="Google Shape;936;p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7" name="Google Shape;937;p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38" name="Google Shape;938;p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9" name="Google Shape;939;p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0" name="Google Shape;940;p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1" name="Google Shape;941;p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2" name="Google Shape;942;p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3" name="Google Shape;943;p9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9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5" name="Google Shape;945;p9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6" name="Google Shape;946;p9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" name="Google Shape;947;p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8" name="Google Shape;948;p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9" name="Google Shape;949;p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0" name="Google Shape;950;p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1" name="Google Shape;951;p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2" name="Google Shape;952;p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3" name="Google Shape;953;p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4" name="Google Shape;954;p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5" name="Google Shape;955;p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6" name="Google Shape;956;p9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9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8" name="Google Shape;958;p9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9" name="Google Shape;959;p92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60" name="Google Shape;960;p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961" name="Google Shape;961;p92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62" name="Google Shape;962;p9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963" name="Google Shape;963;p92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4" name="Google Shape;964;p92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5" name="Google Shape;965;p92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6" name="Google Shape;966;p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7" name="Google Shape;967;p9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68" name="Google Shape;968;p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4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9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0" name="Google Shape;970;p9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1" name="Google Shape;971;p9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2" name="Google Shape;972;p9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3" name="Google Shape;973;p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4" name="Google Shape;974;p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5" name="Google Shape;975;p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6" name="Google Shape;976;p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7" name="Google Shape;977;p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8" name="Google Shape;978;p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9" name="Google Shape;979;p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0" name="Google Shape;980;p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81" name="Google Shape;981;p9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" name="Google Shape;983;p9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4" name="Google Shape;984;p9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5" name="Google Shape;985;p9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86" name="Google Shape;986;p9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87" name="Google Shape;987;p9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88" name="Google Shape;988;p9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9" name="Google Shape;989;p9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90" name="Google Shape;990;p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4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bg>
      <p:bgPr>
        <a:solidFill>
          <a:schemeClr val="lt2"/>
        </a:solidFill>
        <a:effectLst/>
      </p:bgPr>
    </p:bg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2" name="Google Shape;992;p9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93" name="Google Shape;993;p9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4" name="Google Shape;994;p9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5" name="Google Shape;995;p9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96" name="Google Shape;996;p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97" name="Google Shape;997;p9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8" name="Google Shape;998;p9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1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15" name="Google Shape;1515;p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16" name="Google Shape;1516;p1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17" name="Google Shape;1517;p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8" name="Google Shape;1518;p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9" name="Google Shape;1519;p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20" name="Google Shape;1520;p1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1" name="Google Shape;1521;p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22" name="Google Shape;1522;p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23" name="Google Shape;1523;p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0" name="Google Shape;1000;p9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01" name="Google Shape;1001;p9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02" name="Google Shape;1002;p9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03" name="Google Shape;1003;p9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4" name="Google Shape;1004;p9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05" name="Google Shape;1005;p9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06" name="Google Shape;1006;p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9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9" name="Google Shape;1009;p9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0" name="Google Shape;1010;p9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1" name="Google Shape;1011;p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2" name="Google Shape;1012;p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3" name="Google Shape;1013;p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4" name="Google Shape;1014;p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5" name="Google Shape;1015;p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6" name="Google Shape;1016;p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7" name="Google Shape;1017;p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8" name="Google Shape;1018;p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19" name="Google Shape;1019;p9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10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1" name="Google Shape;1021;p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2" name="Google Shape;1022;p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3" name="Google Shape;1023;p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4" name="Google Shape;1024;p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5" name="Google Shape;1025;p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6" name="Google Shape;1026;p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7" name="Google Shape;1027;p9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" name="Google Shape;1028;p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9" name="Google Shape;1029;p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0" name="Google Shape;1030;p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10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Google Shape;1032;p9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3" name="Google Shape;1033;p9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34" name="Google Shape;1034;p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5" name="Google Shape;1035;p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6" name="Google Shape;1036;p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7" name="Google Shape;1037;p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8" name="Google Shape;1038;p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9" name="Google Shape;1039;p9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0" name="Google Shape;1040;p9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1" name="Google Shape;1041;p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2" name="Google Shape;1042;p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10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4" name="Google Shape;1044;p1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5" name="Google Shape;1045;p1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6" name="Google Shape;1046;p1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7" name="Google Shape;1047;p1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8" name="Google Shape;1048;p1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9" name="Google Shape;1049;p1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0" name="Google Shape;1050;p10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1" name="Google Shape;1051;p10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2" name="Google Shape;1052;p10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3" name="Google Shape;1053;p10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4" name="Google Shape;1054;p1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5" name="Google Shape;1055;p1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6" name="Google Shape;1056;p1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10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8" name="Google Shape;1058;p1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9" name="Google Shape;1059;p1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0" name="Google Shape;1060;p1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1" name="Google Shape;1061;p1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2" name="Google Shape;1062;p1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3" name="Google Shape;1063;p10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4" name="Google Shape;1064;p1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5" name="Google Shape;1065;p1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6" name="Google Shape;1066;p1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10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8" name="Google Shape;1068;p10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69" name="Google Shape;1069;p10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0" name="Google Shape;1070;p10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71" name="Google Shape;1071;p10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2" name="Google Shape;1072;p10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3" name="Google Shape;1073;p10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74" name="Google Shape;1074;p1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75" name="Google Shape;1075;p10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4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1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7" name="Google Shape;1077;p1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8" name="Google Shape;1078;p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9" name="Google Shape;1079;p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0" name="Google Shape;1080;p1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1" name="Google Shape;1081;p1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2" name="Google Shape;1082;p1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3" name="Google Shape;1083;p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4" name="Google Shape;1084;p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4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1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6" name="Google Shape;1086;p10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7" name="Google Shape;1087;p10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8" name="Google Shape;1088;p10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89" name="Google Shape;1089;p10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90" name="Google Shape;1090;p10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91" name="Google Shape;1091;p10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2" name="Google Shape;1092;p10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93" name="Google Shape;1093;p1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4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1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5" name="Google Shape;1095;p10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96" name="Google Shape;1096;p10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7" name="Google Shape;1097;p10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8" name="Google Shape;1098;p10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99" name="Google Shape;1099;p1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00" name="Google Shape;1100;p10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1" name="Google Shape;1101;p10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1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5" name="Google Shape;1525;p19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26" name="Google Shape;1526;p19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7" name="Google Shape;1527;p19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28" name="Google Shape;1528;p19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29" name="Google Shape;1529;p19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0" name="Google Shape;1530;p19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31" name="Google Shape;1531;p19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32" name="Google Shape;1532;p19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4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1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3" name="Google Shape;1103;p10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4" name="Google Shape;1104;p10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05" name="Google Shape;1105;p10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06" name="Google Shape;1106;p10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7" name="Google Shape;1107;p10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08" name="Google Shape;1108;p10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09" name="Google Shape;1109;p10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1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1" name="Google Shape;1111;p1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2" name="Google Shape;1112;p1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3" name="Google Shape;1113;p1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4" name="Google Shape;1114;p1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5" name="Google Shape;1115;p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6" name="Google Shape;1116;p1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7" name="Google Shape;1117;p1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8" name="Google Shape;1118;p1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9" name="Google Shape;1119;p1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20" name="Google Shape;1120;p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1" name="Google Shape;1121;p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22" name="Google Shape;1122;p10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4" name="Google Shape;1124;p1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25" name="Google Shape;1125;p1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6" name="Google Shape;1126;p1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27" name="Google Shape;1127;p1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8" name="Google Shape;1128;p1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29" name="Google Shape;1129;p1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0" name="Google Shape;1130;p10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1" name="Google Shape;1131;p1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2" name="Google Shape;1132;p1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3" name="Google Shape;1133;p1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1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" name="Google Shape;1135;p1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6" name="Google Shape;1136;p10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37" name="Google Shape;1137;p1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38" name="Google Shape;1138;p1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9" name="Google Shape;1139;p1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0" name="Google Shape;1140;p1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1" name="Google Shape;1141;p1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2" name="Google Shape;1142;p10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3" name="Google Shape;1143;p10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4" name="Google Shape;1144;p1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5" name="Google Shape;1145;p1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1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7" name="Google Shape;1147;p1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8" name="Google Shape;1148;p1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9" name="Google Shape;1149;p1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0" name="Google Shape;1150;p1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1" name="Google Shape;1151;p1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2" name="Google Shape;1152;p1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3" name="Google Shape;1153;p11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4" name="Google Shape;1154;p11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5" name="Google Shape;1155;p11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6" name="Google Shape;1156;p11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7" name="Google Shape;1157;p1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8" name="Google Shape;1158;p1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9" name="Google Shape;1159;p1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1" name="Google Shape;1161;p1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2" name="Google Shape;1162;p1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3" name="Google Shape;1163;p1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4" name="Google Shape;1164;p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5" name="Google Shape;1165;p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6" name="Google Shape;1166;p1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7" name="Google Shape;1167;p1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8" name="Google Shape;1168;p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9" name="Google Shape;1169;p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1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1" name="Google Shape;1171;p11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72" name="Google Shape;1172;p11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3" name="Google Shape;1173;p11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74" name="Google Shape;1174;p11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5" name="Google Shape;1175;p11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6" name="Google Shape;1176;p11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77" name="Google Shape;1177;p1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78" name="Google Shape;1178;p11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4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1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0" name="Google Shape;1180;p1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1" name="Google Shape;1181;p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2" name="Google Shape;1182;p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3" name="Google Shape;1183;p1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4" name="Google Shape;1184;p1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5" name="Google Shape;1185;p1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6" name="Google Shape;1186;p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7" name="Google Shape;1187;p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4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1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" name="Google Shape;1189;p1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0" name="Google Shape;1190;p1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1" name="Google Shape;1191;p1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2" name="Google Shape;1192;p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3" name="Google Shape;1193;p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4" name="Google Shape;1194;p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5" name="Google Shape;1195;p1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96" name="Google Shape;1196;p1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7" name="Google Shape;1197;p1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98" name="Google Shape;1198;p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9" name="Google Shape;1199;p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00" name="Google Shape;1200;p11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2" name="Google Shape;1202;p115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3" name="Google Shape;1203;p115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04" name="Google Shape;1204;p11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05" name="Google Shape;1205;p1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6" name="Google Shape;1206;p1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1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4" name="Google Shape;1534;p2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35" name="Google Shape;1535;p2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36" name="Google Shape;1536;p2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37" name="Google Shape;1537;p2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38" name="Google Shape;1538;p2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9" name="Google Shape;1539;p2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0" name="Google Shape;1540;p2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1" name="Google Shape;1541;p2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4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" name="Google Shape;1208;p11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9" name="Google Shape;1209;p11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0" name="Google Shape;1210;p11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11" name="Google Shape;1211;p1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2" name="Google Shape;1212;p1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13" name="Google Shape;1213;p11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4" name="Google Shape;1214;p11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5" name="Google Shape;1215;p11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16" name="Google Shape;1216;p1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1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" name="Google Shape;1218;p11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9" name="Google Shape;1219;p11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0" name="Google Shape;1220;p11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21" name="Google Shape;1221;p1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2" name="Google Shape;1222;p1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23" name="Google Shape;1223;p11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4" name="Google Shape;1224;p11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5" name="Google Shape;1225;p11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26" name="Google Shape;1226;p1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" name="Google Shape;1228;p11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9" name="Google Shape;1229;p11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0" name="Google Shape;1230;p11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1" name="Google Shape;1231;p11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32" name="Google Shape;1232;p1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4" name="Google Shape;1234;p11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35" name="Google Shape;1235;p1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36" name="Google Shape;1236;p11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7" name="Google Shape;1237;p11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8" name="Google Shape;1238;p11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12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1" name="Google Shape;1241;p12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2" name="Google Shape;1242;p12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3" name="Google Shape;1243;p12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4" name="Google Shape;1244;p12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45" name="Google Shape;1245;p1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1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7" name="Google Shape;1247;p12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8" name="Google Shape;1248;p12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9" name="Google Shape;1249;p12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50" name="Google Shape;1250;p1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1" name="Google Shape;1251;p1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52" name="Google Shape;1252;p12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3" name="Google Shape;1253;p12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4" name="Google Shape;1254;p12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55" name="Google Shape;1255;p1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1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7" name="Google Shape;1257;p122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8" name="Google Shape;1258;p12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9" name="Google Shape;1259;p12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0" name="Google Shape;1260;p122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61" name="Google Shape;1261;p1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1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3" name="Google Shape;1263;p12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64" name="Google Shape;1264;p1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65" name="Google Shape;1265;p12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6" name="Google Shape;1266;p123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7" name="Google Shape;1267;p123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1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" name="Google Shape;1269;p12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0" name="Google Shape;1270;p12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1" name="Google Shape;1271;p124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2" name="Google Shape;1272;p124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3" name="Google Shape;1273;p124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74" name="Google Shape;1274;p1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1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6" name="Google Shape;1276;p12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7" name="Google Shape;1277;p12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8" name="Google Shape;1278;p12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79" name="Google Shape;1279;p1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0" name="Google Shape;1280;p1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81" name="Google Shape;1281;p12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2" name="Google Shape;1282;p12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3" name="Google Shape;1283;p12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84" name="Google Shape;1284;p1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4">
    <p:spTree>
      <p:nvGrpSpPr>
        <p:cNvPr id="1" name="Shape 1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3" name="Google Shape;1543;p2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44" name="Google Shape;1544;p2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5" name="Google Shape;1545;p2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6" name="Google Shape;1546;p2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7" name="Google Shape;1547;p2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8" name="Google Shape;1548;p2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49" name="Google Shape;1549;p2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50" name="Google Shape;1550;p2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51" name="Google Shape;1551;p2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52" name="Google Shape;1552;p2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3" name="Google Shape;1553;p2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54" name="Google Shape;1554;p2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1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6" name="Google Shape;1286;p12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7" name="Google Shape;1287;p12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8" name="Google Shape;1288;p12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9" name="Google Shape;1289;p12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90" name="Google Shape;1290;p1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1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2" name="Google Shape;1292;p12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93" name="Google Shape;1293;p1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94" name="Google Shape;1294;p12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5" name="Google Shape;1295;p12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6" name="Google Shape;1296;p12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1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8" name="Google Shape;1298;p12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9" name="Google Shape;1299;p12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0" name="Google Shape;1300;p12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1" name="Google Shape;1301;p12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2" name="Google Shape;1302;p12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03" name="Google Shape;1303;p1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1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5" name="Google Shape;1305;p12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6" name="Google Shape;1306;p12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7" name="Google Shape;1307;p12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08" name="Google Shape;1308;p1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9" name="Google Shape;1309;p1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10" name="Google Shape;1310;p12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1" name="Google Shape;1311;p12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2" name="Google Shape;1312;p12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13" name="Google Shape;1313;p1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1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" name="Google Shape;1315;p13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6" name="Google Shape;1316;p13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7" name="Google Shape;1317;p1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18" name="Google Shape;1318;p1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9" name="Google Shape;1319;p1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20" name="Google Shape;1320;p13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1" name="Google Shape;1321;p13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2" name="Google Shape;1322;p13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23" name="Google Shape;1323;p1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1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5" name="Google Shape;1325;p13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6" name="Google Shape;1326;p13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7" name="Google Shape;1327;p13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8" name="Google Shape;1328;p13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29" name="Google Shape;1329;p1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1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" name="Google Shape;1331;p13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32" name="Google Shape;1332;p1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33" name="Google Shape;1333;p13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4" name="Google Shape;1334;p13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5" name="Google Shape;1335;p13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1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Google Shape;1337;p13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8" name="Google Shape;1338;p13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9" name="Google Shape;1339;p13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0" name="Google Shape;1340;p13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1" name="Google Shape;1341;p13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42" name="Google Shape;1342;p1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1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4" name="Google Shape;1344;p1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5" name="Google Shape;1345;p1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6" name="Google Shape;1346;p1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47" name="Google Shape;1347;p1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8" name="Google Shape;1348;p1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49" name="Google Shape;1349;p1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0" name="Google Shape;1350;p1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1" name="Google Shape;1351;p1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2" name="Google Shape;1352;p1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1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4" name="Google Shape;1354;p13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5" name="Google Shape;1355;p1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6" name="Google Shape;1356;p1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7" name="Google Shape;1357;p13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8" name="Google Shape;1358;p1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" name="Google Shape;1556;p2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57" name="Google Shape;1557;p2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8" name="Google Shape;1558;p2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9" name="Google Shape;1559;p2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60" name="Google Shape;1560;p2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1" name="Google Shape;1561;p2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62" name="Google Shape;1562;p2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63" name="Google Shape;1563;p2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64" name="Google Shape;1564;p2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65" name="Google Shape;1565;p2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6" name="Google Shape;1566;p2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67" name="Google Shape;1567;p20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1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0" name="Google Shape;1360;p13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61" name="Google Shape;1361;p1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62" name="Google Shape;1362;p13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3" name="Google Shape;1363;p13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4" name="Google Shape;1364;p13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1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6" name="Google Shape;1366;p13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7" name="Google Shape;1367;p13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8" name="Google Shape;1368;p13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9" name="Google Shape;1369;p13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0" name="Google Shape;1370;p13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71" name="Google Shape;1371;p1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1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3" name="Google Shape;1373;p13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4" name="Google Shape;1374;p13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5" name="Google Shape;1375;p13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6" name="Google Shape;1376;p13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77" name="Google Shape;1377;p1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1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9" name="Google Shape;1379;p13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80" name="Google Shape;1380;p1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81" name="Google Shape;1381;p13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2" name="Google Shape;1382;p13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3" name="Google Shape;1383;p13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1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5" name="Google Shape;1385;p14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6" name="Google Shape;1386;p14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7" name="Google Shape;1387;p14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8" name="Google Shape;1388;p14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9" name="Google Shape;1389;p14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90" name="Google Shape;1390;p1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1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" name="Google Shape;1392;p14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3" name="Google Shape;1393;p14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4" name="Google Shape;1394;p14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95" name="Google Shape;1395;p14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96" name="Google Shape;1396;p14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397" name="Google Shape;1397;p14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8" name="Google Shape;1398;p14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99" name="Google Shape;1399;p1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4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bg>
      <p:bgPr>
        <a:solidFill>
          <a:schemeClr val="lt2"/>
        </a:solidFill>
        <a:effectLst/>
      </p:bgPr>
    </p:bg>
    <p:spTree>
      <p:nvGrpSpPr>
        <p:cNvPr id="1" name="Shape 1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1" name="Google Shape;1401;p14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02" name="Google Shape;1402;p14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3" name="Google Shape;1403;p14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4" name="Google Shape;1404;p14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05" name="Google Shape;1405;p1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06" name="Google Shape;1406;p14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7" name="Google Shape;1407;p14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1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9" name="Google Shape;1409;p14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10" name="Google Shape;1410;p14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411" name="Google Shape;1411;p14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412" name="Google Shape;1412;p14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3" name="Google Shape;1413;p14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14" name="Google Shape;1414;p14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415" name="Google Shape;1415;p1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1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7" name="Google Shape;1417;p1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8" name="Google Shape;1418;p1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9" name="Google Shape;1419;p1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0" name="Google Shape;1420;p1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21" name="Google Shape;1421;p1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2" name="Google Shape;1422;p1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23" name="Google Shape;1423;p1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24" name="Google Shape;1424;p1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25" name="Google Shape;1425;p1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26" name="Google Shape;1426;p1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7" name="Google Shape;1427;p1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28" name="Google Shape;1428;p14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1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0" name="Google Shape;1430;p1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1" name="Google Shape;1431;p1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32" name="Google Shape;1432;p1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33" name="Google Shape;1433;p1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34" name="Google Shape;1434;p1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35" name="Google Shape;1435;p1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6" name="Google Shape;1436;p1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37" name="Google Shape;1437;p14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8" name="Google Shape;1438;p14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39" name="Google Shape;1439;p1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40" name="Google Shape;1440;p1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1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9" name="Google Shape;1569;p20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0" name="Google Shape;1570;p20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1" name="Google Shape;1571;p20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72" name="Google Shape;1572;p20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573" name="Google Shape;1573;p20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574" name="Google Shape;1574;p20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5" name="Google Shape;1575;p20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76" name="Google Shape;1576;p2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4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1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2" name="Google Shape;1442;p1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43" name="Google Shape;1443;p1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44" name="Google Shape;1444;p1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45" name="Google Shape;1445;p1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6" name="Google Shape;1446;p1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47" name="Google Shape;1447;p1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8" name="Google Shape;1448;p14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49" name="Google Shape;1449;p14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0" name="Google Shape;1450;p14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51" name="Google Shape;1451;p14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2" name="Google Shape;1452;p1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53" name="Google Shape;1453;p1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54" name="Google Shape;1454;p1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1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56" name="Google Shape;1456;p1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57" name="Google Shape;1457;p1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58" name="Google Shape;1458;p1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59" name="Google Shape;1459;p1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0" name="Google Shape;1460;p1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61" name="Google Shape;1461;p1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2" name="Google Shape;1462;p1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63" name="Google Shape;1463;p1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64" name="Google Shape;1464;p1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14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66" name="Google Shape;1466;p14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467" name="Google Shape;1467;p14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8" name="Google Shape;1468;p14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69" name="Google Shape;1469;p14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0" name="Google Shape;1470;p14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1" name="Google Shape;1471;p14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72" name="Google Shape;1472;p1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473" name="Google Shape;1473;p14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4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1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5" name="Google Shape;1475;p1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76" name="Google Shape;1476;p1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7" name="Google Shape;1477;p1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78" name="Google Shape;1478;p1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9" name="Google Shape;1479;p1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80" name="Google Shape;1480;p1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81" name="Google Shape;1481;p1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2" name="Google Shape;1482;p1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4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1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" name="Google Shape;1484;p15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5" name="Google Shape;1485;p15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6" name="Google Shape;1486;p15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87" name="Google Shape;1487;p15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88" name="Google Shape;1488;p15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489" name="Google Shape;1489;p15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0" name="Google Shape;1490;p15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91" name="Google Shape;1491;p1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4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bg>
      <p:bgPr>
        <a:solidFill>
          <a:schemeClr val="lt2"/>
        </a:solidFill>
        <a:effectLst/>
      </p:bgPr>
    </p:bg>
    <p:spTree>
      <p:nvGrpSpPr>
        <p:cNvPr id="1" name="Shape 14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93" name="Google Shape;1493;p15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94" name="Google Shape;1494;p15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5" name="Google Shape;1495;p15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6" name="Google Shape;1496;p15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97" name="Google Shape;1497;p1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98" name="Google Shape;1498;p15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9" name="Google Shape;1499;p15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1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1" name="Google Shape;1501;p15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02" name="Google Shape;1502;p15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03" name="Google Shape;1503;p15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04" name="Google Shape;1504;p15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5" name="Google Shape;1505;p15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06" name="Google Shape;1506;p15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07" name="Google Shape;1507;p1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1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9" name="Google Shape;1509;p15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0" name="Google Shape;1510;p15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1" name="Google Shape;1511;p15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2" name="Google Shape;1512;p1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3" name="Google Shape;1513;p1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4" name="Google Shape;1514;p1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15" name="Google Shape;1515;p1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16" name="Google Shape;1516;p1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17" name="Google Shape;1517;p1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8" name="Google Shape;1518;p1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9" name="Google Shape;1519;p1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20" name="Google Shape;1520;p15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4">
    <p:spTree>
      <p:nvGrpSpPr>
        <p:cNvPr id="1" name="Shape 15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2" name="Google Shape;1522;p1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3" name="Google Shape;1523;p1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24" name="Google Shape;1524;p1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25" name="Google Shape;1525;p1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6" name="Google Shape;1526;p1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27" name="Google Shape;1527;p1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8" name="Google Shape;1528;p15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9" name="Google Shape;1529;p1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30" name="Google Shape;1530;p1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31" name="Google Shape;1531;p1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1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3" name="Google Shape;1533;p1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4" name="Google Shape;1534;p15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535" name="Google Shape;1535;p1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36" name="Google Shape;1536;p1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7" name="Google Shape;1537;p1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38" name="Google Shape;1538;p1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9" name="Google Shape;1539;p1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40" name="Google Shape;1540;p15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1" name="Google Shape;1541;p15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2" name="Google Shape;1542;p1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3" name="Google Shape;1543;p1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">
    <p:bg>
      <p:bgPr>
        <a:solidFill>
          <a:schemeClr val="lt2"/>
        </a:solidFill>
        <a:effectLst/>
      </p:bgPr>
    </p:bg>
    <p:spTree>
      <p:nvGrpSpPr>
        <p:cNvPr id="1" name="Shape 1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8" name="Google Shape;1578;p20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579" name="Google Shape;1579;p20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0" name="Google Shape;1580;p20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1" name="Google Shape;1581;p20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82" name="Google Shape;1582;p2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83" name="Google Shape;1583;p20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4" name="Google Shape;1584;p20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15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5" name="Google Shape;1545;p1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46" name="Google Shape;1546;p1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47" name="Google Shape;1547;p1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8" name="Google Shape;1548;p1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9" name="Google Shape;1549;p1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50" name="Google Shape;1550;p1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1" name="Google Shape;1551;p15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52" name="Google Shape;1552;p15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3" name="Google Shape;1553;p15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54" name="Google Shape;1554;p15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5" name="Google Shape;1555;p1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56" name="Google Shape;1556;p1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57" name="Google Shape;1557;p1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1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59" name="Google Shape;1559;p1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60" name="Google Shape;1560;p1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61" name="Google Shape;1561;p1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62" name="Google Shape;1562;p1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3" name="Google Shape;1563;p1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64" name="Google Shape;1564;p1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5" name="Google Shape;1565;p1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66" name="Google Shape;1566;p1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7" name="Google Shape;1567;p1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1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9" name="Google Shape;1569;p15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70" name="Google Shape;1570;p15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1" name="Google Shape;1571;p15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72" name="Google Shape;1572;p15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3" name="Google Shape;1573;p15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74" name="Google Shape;1574;p15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75" name="Google Shape;1575;p1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76" name="Google Shape;1576;p15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4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1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8" name="Google Shape;1578;p1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79" name="Google Shape;1579;p1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80" name="Google Shape;1580;p1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81" name="Google Shape;1581;p1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82" name="Google Shape;1582;p1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83" name="Google Shape;1583;p1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84" name="Google Shape;1584;p1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5" name="Google Shape;1585;p1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1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" name="Google Shape;1587;p160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88" name="Google Shape;1588;p1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89" name="Google Shape;1589;p160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590" name="Google Shape;1590;p160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91" name="Google Shape;1591;p160"/>
            <p:cNvPicPr preferRelativeResize="0"/>
            <p:nvPr/>
          </p:nvPicPr>
          <p:blipFill rotWithShape="1">
            <a:blip r:embed="rId3">
              <a:alphaModFix/>
            </a:blip>
            <a:srcRect l="7219" t="16937" r="72250" b="20588"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592" name="Google Shape;1592;p160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3" name="Google Shape;1593;p160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4" name="Google Shape;1594;p160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5" name="Google Shape;1595;p160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1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" name="Google Shape;1597;p161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8" name="Google Shape;1598;p161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9" name="Google Shape;1599;p161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0" name="Google Shape;1600;p161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1" name="Google Shape;1601;p1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02" name="Google Shape;1602;p161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1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4" name="Google Shape;1604;p16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5" name="Google Shape;1605;p16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6" name="Google Shape;1606;p16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07" name="Google Shape;1607;p1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8" name="Google Shape;1608;p1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09" name="Google Shape;1609;p16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0" name="Google Shape;1610;p16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1" name="Google Shape;1611;p16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12" name="Google Shape;1612;p1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">
    <p:spTree>
      <p:nvGrpSpPr>
        <p:cNvPr id="1" name="Shape 1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4" name="Google Shape;1614;p163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15" name="Google Shape;1615;p1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16" name="Google Shape;1616;p163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617" name="Google Shape;1617;p163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18" name="Google Shape;1618;p163"/>
            <p:cNvPicPr preferRelativeResize="0"/>
            <p:nvPr/>
          </p:nvPicPr>
          <p:blipFill rotWithShape="1">
            <a:blip r:embed="rId3">
              <a:alphaModFix/>
            </a:blip>
            <a:srcRect l="7219" t="16937" r="72250" b="20588"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619" name="Google Shape;1619;p163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0" name="Google Shape;1620;p163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1" name="Google Shape;1621;p163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2" name="Google Shape;1622;p163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">
    <p:spTree>
      <p:nvGrpSpPr>
        <p:cNvPr id="1" name="Shape 1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4" name="Google Shape;1624;p164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25" name="Google Shape;1625;p164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6" name="Google Shape;1626;p164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7" name="Google Shape;1627;p164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8" name="Google Shape;1628;p1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29" name="Google Shape;1629;p164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1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1" name="Google Shape;1631;p16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2" name="Google Shape;1632;p16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3" name="Google Shape;1633;p16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34" name="Google Shape;1634;p1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5" name="Google Shape;1635;p1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36" name="Google Shape;1636;p16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7" name="Google Shape;1637;p16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8" name="Google Shape;1638;p16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39" name="Google Shape;1639;p1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p7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2" name="Google Shape;152;p7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3" name="Google Shape;153;p7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4" name="Google Shape;154;p7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155;p7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6" name="Google Shape;156;p7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7" name="Google Shape;157;p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1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Google Shape;1586;p20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87" name="Google Shape;1587;p20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88" name="Google Shape;1588;p20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89" name="Google Shape;1589;p20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0" name="Google Shape;1590;p20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91" name="Google Shape;1591;p20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92" name="Google Shape;1592;p2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16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1" name="Google Shape;1641;p16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2" name="Google Shape;1642;p16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3" name="Google Shape;1643;p16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4" name="Google Shape;1644;p16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45" name="Google Shape;1645;p1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16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7" name="Google Shape;1647;p16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48" name="Google Shape;1648;p1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649" name="Google Shape;1649;p16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0" name="Google Shape;1650;p16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1" name="Google Shape;1651;p16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1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3" name="Google Shape;1653;p16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4" name="Google Shape;1654;p16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5" name="Google Shape;1655;p16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6" name="Google Shape;1656;p16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7" name="Google Shape;1657;p16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58" name="Google Shape;1658;p1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6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0" name="Google Shape;1660;p169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1" name="Google Shape;1661;p169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662" name="Google Shape;1662;p16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63" name="Google Shape;1663;p1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4" name="Google Shape;1664;p1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5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16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6" name="Google Shape;1666;p170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7" name="Google Shape;1667;p170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668" name="Google Shape;1668;p170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669" name="Google Shape;1669;p17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70" name="Google Shape;1670;p1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1" name="Google Shape;1671;p1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5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16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3" name="Google Shape;1673;p171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4" name="Google Shape;1674;p171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75" name="Google Shape;1675;p171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6" name="Google Shape;1676;p171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77" name="Google Shape;1677;p171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8" name="Google Shape;1678;p171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79" name="Google Shape;1679;p171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0" name="Google Shape;1680;p171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81" name="Google Shape;1681;p1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6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3" name="Google Shape;1683;p1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4" name="Google Shape;1684;p1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5" name="Google Shape;1685;p1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6" name="Google Shape;1686;p1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87" name="Google Shape;1687;p1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8" name="Google Shape;1688;p1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89" name="Google Shape;1689;p1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90" name="Google Shape;1690;p1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91" name="Google Shape;1691;p1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92" name="Google Shape;1692;p1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3" name="Google Shape;1693;p1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94" name="Google Shape;1694;p17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16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6" name="Google Shape;1696;p173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97" name="Google Shape;1697;p173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98" name="Google Shape;1698;p173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9" name="Google Shape;1699;p173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00" name="Google Shape;1700;p173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1" name="Google Shape;1701;p173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02" name="Google Shape;1702;p173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03" name="Google Shape;1703;p173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04" name="Google Shape;1704;p1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1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6" name="Google Shape;1706;p17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7" name="Google Shape;1707;p17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8" name="Google Shape;1708;p17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09" name="Google Shape;1709;p17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710" name="Google Shape;1710;p17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11" name="Google Shape;1711;p17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2" name="Google Shape;1712;p17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13" name="Google Shape;1713;p1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5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17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5" name="Google Shape;1715;p17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16" name="Google Shape;1716;p1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7" name="Google Shape;1717;p1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8" name="Google Shape;1718;p1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19" name="Google Shape;1719;p1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20" name="Google Shape;1720;p17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1" name="Google Shape;1721;p17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2">
    <p:spTree>
      <p:nvGrpSpPr>
        <p:cNvPr id="1" name="Shape 1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4" name="Google Shape;1594;p20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5" name="Google Shape;1595;p20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6" name="Google Shape;1596;p20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7" name="Google Shape;1597;p2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98" name="Google Shape;1598;p2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99" name="Google Shape;1599;p2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00" name="Google Shape;1600;p2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01" name="Google Shape;1601;p2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02" name="Google Shape;1602;p2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03" name="Google Shape;1603;p2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4" name="Google Shape;1604;p2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05" name="Google Shape;1605;p20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1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3" name="Google Shape;1723;p17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24" name="Google Shape;1724;p17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25" name="Google Shape;1725;p17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726" name="Google Shape;1726;p17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7" name="Google Shape;1727;p17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28" name="Google Shape;1728;p17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29" name="Google Shape;1729;p17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1" name="Google Shape;1731;p1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32" name="Google Shape;1732;p1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33" name="Google Shape;1733;p1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34" name="Google Shape;1734;p1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35" name="Google Shape;1735;p1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36" name="Google Shape;1736;p1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37" name="Google Shape;1737;p1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38" name="Google Shape;1738;p1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5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17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" name="Google Shape;1740;p17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41" name="Google Shape;1741;p1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2" name="Google Shape;1742;p1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3" name="Google Shape;1743;p1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44" name="Google Shape;1744;p1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45" name="Google Shape;1745;p1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46" name="Google Shape;1746;p1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47" name="Google Shape;1747;p1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48" name="Google Shape;1748;p1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49" name="Google Shape;1749;p1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0" name="Google Shape;1750;p1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51" name="Google Shape;1751;p17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1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3" name="Google Shape;1753;p1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4" name="Google Shape;1754;p17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55" name="Google Shape;1755;p1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56" name="Google Shape;1756;p1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57" name="Google Shape;1757;p1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58" name="Google Shape;1758;p1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9" name="Google Shape;1759;p1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60" name="Google Shape;1760;p17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61" name="Google Shape;1761;p17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62" name="Google Shape;1762;p1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63" name="Google Shape;1763;p1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1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65" name="Google Shape;1765;p1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66" name="Google Shape;1766;p1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7" name="Google Shape;1767;p1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68" name="Google Shape;1768;p1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9" name="Google Shape;1769;p1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70" name="Google Shape;1770;p1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1" name="Google Shape;1771;p18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72" name="Google Shape;1772;p18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3" name="Google Shape;1773;p18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74" name="Google Shape;1774;p18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5" name="Google Shape;1775;p1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76" name="Google Shape;1776;p1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77" name="Google Shape;1777;p1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79" name="Google Shape;1779;p1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80" name="Google Shape;1780;p1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81" name="Google Shape;1781;p1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82" name="Google Shape;1782;p1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3" name="Google Shape;1783;p1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84" name="Google Shape;1784;p1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5" name="Google Shape;1785;p1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86" name="Google Shape;1786;p1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87" name="Google Shape;1787;p1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17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89" name="Google Shape;1789;p18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790" name="Google Shape;1790;p18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1" name="Google Shape;1791;p18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92" name="Google Shape;1792;p18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93" name="Google Shape;1793;p18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4" name="Google Shape;1794;p18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95" name="Google Shape;1795;p1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796" name="Google Shape;1796;p18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5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1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8" name="Google Shape;1798;p1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99" name="Google Shape;1799;p1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0" name="Google Shape;1800;p1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01" name="Google Shape;1801;p1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02" name="Google Shape;1802;p1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03" name="Google Shape;1803;p1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04" name="Google Shape;1804;p1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5" name="Google Shape;1805;p1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5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1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7" name="Google Shape;1807;p18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8" name="Google Shape;1808;p18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9" name="Google Shape;1809;p18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0" name="Google Shape;1810;p1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1" name="Google Shape;1811;p1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2" name="Google Shape;1812;p1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13" name="Google Shape;1813;p1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14" name="Google Shape;1814;p1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15" name="Google Shape;1815;p1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16" name="Google Shape;1816;p1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7" name="Google Shape;1817;p1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18" name="Google Shape;1818;p18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3">
    <p:spTree>
      <p:nvGrpSpPr>
        <p:cNvPr id="1" name="Shape 18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0" name="Google Shape;1820;p185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1" name="Google Shape;1821;p185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822" name="Google Shape;1822;p185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823" name="Google Shape;1823;p185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4" name="Google Shape;1824;p185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825" name="Google Shape;1825;p1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3">
    <p:spTree>
      <p:nvGrpSpPr>
        <p:cNvPr id="1" name="Shape 16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7" name="Google Shape;1607;p2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8" name="Google Shape;1608;p2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9" name="Google Shape;1609;p2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0" name="Google Shape;1610;p2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11" name="Google Shape;1611;p2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12" name="Google Shape;1612;p2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13" name="Google Shape;1613;p2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14" name="Google Shape;1614;p2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15" name="Google Shape;1615;p2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16" name="Google Shape;1616;p2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7" name="Google Shape;1617;p2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18" name="Google Shape;1618;p20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18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7" name="Google Shape;1827;p18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28" name="Google Shape;1828;p18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9" name="Google Shape;1829;p18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30" name="Google Shape;1830;p18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831" name="Google Shape;1831;p18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832" name="Google Shape;1832;p1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3" name="Google Shape;1833;p18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34" name="Google Shape;1834;p1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5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">
    <p:bg>
      <p:bgPr>
        <a:solidFill>
          <a:schemeClr val="lt2"/>
        </a:solidFill>
        <a:effectLst/>
      </p:bgPr>
    </p:bg>
    <p:spTree>
      <p:nvGrpSpPr>
        <p:cNvPr id="1" name="Shape 1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6" name="Google Shape;1836;p18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837" name="Google Shape;1837;p18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8" name="Google Shape;1838;p1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9" name="Google Shape;1839;p18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40" name="Google Shape;1840;p1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41" name="Google Shape;1841;p18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2" name="Google Shape;1842;p18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18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4" name="Google Shape;1844;p18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45" name="Google Shape;1845;p18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46" name="Google Shape;1846;p18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47" name="Google Shape;1847;p18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8" name="Google Shape;1848;p18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49" name="Google Shape;1849;p18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850" name="Google Shape;1850;p1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18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Google Shape;1852;p1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3" name="Google Shape;1853;p1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4" name="Google Shape;1854;p1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5" name="Google Shape;1855;p1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56" name="Google Shape;1856;p1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57" name="Google Shape;1857;p1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58" name="Google Shape;1858;p1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59" name="Google Shape;1859;p1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60" name="Google Shape;1860;p1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61" name="Google Shape;1861;p1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2" name="Google Shape;1862;p1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63" name="Google Shape;1863;p1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1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5" name="Google Shape;1865;p1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6" name="Google Shape;1866;p1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7" name="Google Shape;1867;p1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8" name="Google Shape;1868;p1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69" name="Google Shape;1869;p1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70" name="Google Shape;1870;p1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71" name="Google Shape;1871;p1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72" name="Google Shape;1872;p1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73" name="Google Shape;1873;p1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74" name="Google Shape;1874;p1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75" name="Google Shape;1875;p1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76" name="Google Shape;1876;p19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5">
    <p:spTree>
      <p:nvGrpSpPr>
        <p:cNvPr id="1" name="Shape 1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78" name="Google Shape;1878;p1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79" name="Google Shape;1879;p1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80" name="Google Shape;1880;p1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81" name="Google Shape;1881;p1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2" name="Google Shape;1882;p1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83" name="Google Shape;1883;p1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4" name="Google Shape;1884;p1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5" name="Google Shape;1885;p1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86" name="Google Shape;1886;p1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87" name="Google Shape;1887;p1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18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9" name="Google Shape;1889;p1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0" name="Google Shape;1890;p1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891" name="Google Shape;1891;p1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92" name="Google Shape;1892;p1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93" name="Google Shape;1893;p1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94" name="Google Shape;1894;p1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5" name="Google Shape;1895;p1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96" name="Google Shape;1896;p1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7" name="Google Shape;1897;p1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98" name="Google Shape;1898;p1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99" name="Google Shape;1899;p1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19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01" name="Google Shape;1901;p1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02" name="Google Shape;1902;p1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03" name="Google Shape;1903;p1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04" name="Google Shape;1904;p1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5" name="Google Shape;1905;p1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06" name="Google Shape;1906;p1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7" name="Google Shape;1907;p1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08" name="Google Shape;1908;p1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9" name="Google Shape;1909;p1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10" name="Google Shape;1910;p1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1" name="Google Shape;1911;p1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12" name="Google Shape;1912;p1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13" name="Google Shape;1913;p1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1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15" name="Google Shape;1915;p1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16" name="Google Shape;1916;p1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17" name="Google Shape;1917;p1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18" name="Google Shape;1918;p1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9" name="Google Shape;1919;p1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20" name="Google Shape;1920;p1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1" name="Google Shape;1921;p1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22" name="Google Shape;1922;p1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23" name="Google Shape;1923;p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1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25" name="Google Shape;1925;p1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926" name="Google Shape;1926;p1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7" name="Google Shape;1927;p1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28" name="Google Shape;1928;p1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9" name="Google Shape;1929;p1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0" name="Google Shape;1930;p1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31" name="Google Shape;1931;p1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932" name="Google Shape;1932;p1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6">
    <p:spTree>
      <p:nvGrpSpPr>
        <p:cNvPr id="1" name="Shape 1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20" name="Google Shape;1620;p2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21" name="Google Shape;1621;p2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22" name="Google Shape;1622;p2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23" name="Google Shape;1623;p2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4" name="Google Shape;1624;p2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25" name="Google Shape;1625;p2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6" name="Google Shape;1626;p20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7" name="Google Shape;1627;p2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28" name="Google Shape;1628;p2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29" name="Google Shape;1629;p2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19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4" name="Google Shape;1934;p1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35" name="Google Shape;1935;p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36" name="Google Shape;1936;p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37" name="Google Shape;1937;p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38" name="Google Shape;1938;p1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39" name="Google Shape;1939;p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40" name="Google Shape;1940;p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1" name="Google Shape;1941;p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">
    <p:bg>
      <p:bgPr>
        <a:solidFill>
          <a:schemeClr val="lt1"/>
        </a:solidFill>
        <a:effectLst/>
      </p:bgPr>
    </p:bg>
    <p:spTree>
      <p:nvGrpSpPr>
        <p:cNvPr id="1" name="Shape 19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3" name="Google Shape;1943;p197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4" name="Google Shape;1944;p19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45" name="Google Shape;1945;p1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946" name="Google Shape;1946;p197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47" name="Google Shape;1947;p19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948" name="Google Shape;1948;p197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9" name="Google Shape;1949;p197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0" name="Google Shape;1950;p197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1" name="Google Shape;1951;p1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2" name="Google Shape;1952;p19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53" name="Google Shape;1953;p1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5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1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" name="Google Shape;1955;p19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6" name="Google Shape;1956;p19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7" name="Google Shape;1957;p19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8" name="Google Shape;1958;p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59" name="Google Shape;1959;p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0" name="Google Shape;1960;p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61" name="Google Shape;1961;p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62" name="Google Shape;1962;p1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63" name="Google Shape;1963;p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64" name="Google Shape;1964;p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5" name="Google Shape;1965;p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66" name="Google Shape;1966;p19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1BFB96-B209-B245-8059-C9A876BB58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3903" y="6370016"/>
            <a:ext cx="4258300" cy="365125"/>
          </a:xfrm>
        </p:spPr>
        <p:txBody>
          <a:bodyPr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5731D-9F93-2B4F-BB58-9A3694406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11" y="6370016"/>
            <a:ext cx="3305463" cy="365125"/>
          </a:xfrm>
        </p:spPr>
        <p:txBody>
          <a:bodyPr/>
          <a:lstStyle>
            <a:lvl1pPr>
              <a:defRPr sz="110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</a:lstStyle>
          <a:p>
            <a:fld id="{96ACBB43-5C7B-084B-877B-5EF90931306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B1DDA7C-0811-7C49-A098-BFE5C5646B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flipV="1">
            <a:off x="1199649" y="5081783"/>
            <a:ext cx="803739" cy="11318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DF96C8F-3EA2-F446-82B5-EB7F6B8E25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9865" y="1322310"/>
            <a:ext cx="7347488" cy="2850879"/>
          </a:xfrm>
        </p:spPr>
        <p:txBody>
          <a:bodyPr bIns="0" anchor="b" anchorCtr="0">
            <a:noAutofit/>
          </a:bodyPr>
          <a:lstStyle>
            <a:lvl1pPr fontAlgn="base">
              <a:lnSpc>
                <a:spcPct val="85000"/>
              </a:lnSpc>
              <a:defRPr sz="6600" b="1" i="0" spc="-150">
                <a:solidFill>
                  <a:schemeClr val="accent1">
                    <a:lumMod val="50000"/>
                  </a:schemeClr>
                </a:solidFill>
                <a:latin typeface="Spectral ExtraBold" panose="02020502060000000000" pitchFamily="18" charset="77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0F84FE7-0540-3B41-8011-E3E03A7CCB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9877" y="4339543"/>
            <a:ext cx="5626639" cy="457199"/>
          </a:xfrm>
        </p:spPr>
        <p:txBody>
          <a:bodyPr>
            <a:normAutofit/>
          </a:bodyPr>
          <a:lstStyle>
            <a:lvl1pPr marL="0" indent="0">
              <a:buNone/>
              <a:defRPr sz="1430" spc="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BA5CF0F-7E2D-4728-A880-39884FE2B2B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5943" y="6369829"/>
            <a:ext cx="1664793" cy="25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12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40">
          <p15:clr>
            <a:srgbClr val="FBAE40"/>
          </p15:clr>
        </p15:guide>
        <p15:guide id="2" pos="768">
          <p15:clr>
            <a:srgbClr val="FBAE40"/>
          </p15:clr>
        </p15:guide>
      </p15:sldGuideLst>
    </p:ext>
  </p:extLst>
</p:sldLayout>
</file>

<file path=ppt/slideLayouts/slideLayout15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D4AA46-A5E1-D542-8104-A09FED725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9321" y="681149"/>
            <a:ext cx="9854317" cy="390523"/>
          </a:xfrm>
        </p:spPr>
        <p:txBody>
          <a:bodyPr/>
          <a:lstStyle>
            <a:lvl1pPr>
              <a:defRPr sz="2000" b="1" spc="20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82797D-D6FC-5140-AF46-C6F6A647688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89321" y="1477151"/>
            <a:ext cx="9854317" cy="4307435"/>
          </a:xfrm>
        </p:spPr>
        <p:txBody>
          <a:bodyPr lIns="0" tIns="0"/>
          <a:lstStyle>
            <a:lvl1pPr marL="571500" indent="-571500">
              <a:buSzPct val="140000"/>
              <a:buFont typeface="Courier New" panose="02070309020205020404" pitchFamily="49" charset="0"/>
              <a:buChar char="o"/>
              <a:defRPr sz="2800"/>
            </a:lvl1pPr>
            <a:lvl2pPr marL="974725" indent="-346075">
              <a:defRPr sz="2800"/>
            </a:lvl2pPr>
            <a:lvl3pPr marL="1371600" indent="-304800">
              <a:defRPr/>
            </a:lvl3pPr>
            <a:lvl4pPr marL="1768475" indent="-342900">
              <a:defRPr/>
            </a:lvl4pPr>
            <a:lvl5pPr marL="2117725" indent="-292100"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549E54-A108-1C4D-9843-175CDBDF3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61104" y="6356368"/>
            <a:ext cx="4648720" cy="365125"/>
          </a:xfrm>
        </p:spPr>
        <p:txBody>
          <a:bodyPr/>
          <a:lstStyle>
            <a:lvl1pPr algn="l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E4767A-6F26-144D-9550-0D521B79F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05276" y="6356368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96ACBB43-5C7B-084B-877B-5EF90931306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2AAAF3C-23D9-B549-BAAB-9BBAF141E0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0385" t="-44474" r="17431" b="-56261"/>
          <a:stretch/>
        </p:blipFill>
        <p:spPr>
          <a:xfrm>
            <a:off x="0" y="1542079"/>
            <a:ext cx="1177871" cy="63543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B42511C-F166-40BE-A84C-4AA83A0B812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5943" y="6369829"/>
            <a:ext cx="1664793" cy="25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710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864">
          <p15:clr>
            <a:srgbClr val="FBAE40"/>
          </p15:clr>
        </p15:guide>
      </p15:sldGuideLst>
    </p:ext>
  </p:extLst>
</p:sldLayout>
</file>

<file path=ppt/slideLayouts/slideLayout15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Title Slide (Light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98AFDD-2CC6-8049-A544-11AF67749A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2464" y="2624131"/>
            <a:ext cx="7471347" cy="1763902"/>
          </a:xfrm>
        </p:spPr>
        <p:txBody>
          <a:bodyPr tIns="0" bIns="0" anchor="ctr" anchorCtr="0">
            <a:normAutofit/>
          </a:bodyPr>
          <a:lstStyle>
            <a:lvl1pPr>
              <a:lnSpc>
                <a:spcPct val="80000"/>
              </a:lnSpc>
              <a:defRPr lang="en-US" sz="5800" b="1" i="0" kern="0" spc="-150" baseline="0" dirty="0">
                <a:solidFill>
                  <a:schemeClr val="accent1">
                    <a:lumMod val="75000"/>
                  </a:schemeClr>
                </a:solidFill>
                <a:latin typeface="Spectral ExtraBold" panose="02020902060000000000" pitchFamily="18" charset="77"/>
                <a:ea typeface="SimSun" panose="02010600030101010101" pitchFamily="2" charset="-122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C06BC0-24B0-BD4A-A607-3DA9A22B78E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74925" y="1798926"/>
            <a:ext cx="7471347" cy="812800"/>
          </a:xfrm>
        </p:spPr>
        <p:txBody>
          <a:bodyPr lIns="0" tIns="0" bIns="0" anchor="b">
            <a:noAutofit/>
          </a:bodyPr>
          <a:lstStyle>
            <a:lvl1pPr marL="0" indent="0">
              <a:buNone/>
              <a:defRPr sz="1600" b="0" i="0" spc="300">
                <a:solidFill>
                  <a:schemeClr val="accent2"/>
                </a:solidFill>
                <a:latin typeface="Metropolis Extra Light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4256CC-84D5-0646-BD44-02191960D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60685" y="6356368"/>
            <a:ext cx="3392715" cy="365125"/>
          </a:xfrm>
        </p:spPr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E73A40-A8F0-E143-80BC-A0AC4AAF2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96ACBB43-5C7B-084B-877B-5EF90931306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A42C5F1-2F01-BC45-B052-0E2591C3E04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flipV="1">
            <a:off x="2584152" y="4684991"/>
            <a:ext cx="591257" cy="8325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237F76B-1F52-40AF-9DDD-885F465F4DA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5943" y="6369829"/>
            <a:ext cx="1664793" cy="25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938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608">
          <p15:clr>
            <a:srgbClr val="FBAE40"/>
          </p15:clr>
        </p15:guide>
      </p15:sldGuideLst>
    </p:ext>
  </p:extLst>
</p:sldLayout>
</file>

<file path=ppt/slideLayouts/slideLayout15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Title Slide (Dark)">
    <p:bg>
      <p:bgPr>
        <a:blipFill dpi="0" rotWithShape="1">
          <a:blip r:embed="rId2">
            <a:lum/>
          </a:blip>
          <a:srcRect/>
          <a:stretch>
            <a:fillRect t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98AFDD-2CC6-8049-A544-11AF67749A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8628" y="2701383"/>
            <a:ext cx="7489159" cy="1679599"/>
          </a:xfrm>
        </p:spPr>
        <p:txBody>
          <a:bodyPr tIns="0" bIns="0" anchor="ctr" anchorCtr="0">
            <a:normAutofit/>
          </a:bodyPr>
          <a:lstStyle>
            <a:lvl1pPr>
              <a:lnSpc>
                <a:spcPct val="80000"/>
              </a:lnSpc>
              <a:defRPr lang="en-US" sz="5500" b="1" i="0" kern="0" spc="-150" baseline="0" dirty="0">
                <a:solidFill>
                  <a:srgbClr val="FFECE6"/>
                </a:solidFill>
                <a:latin typeface="Spectral ExtraBold" panose="02020902060000000000" pitchFamily="18" charset="77"/>
                <a:ea typeface="SimSun" panose="02010600030101010101" pitchFamily="2" charset="-122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C06BC0-24B0-BD4A-A607-3DA9A22B78E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628628" y="1798675"/>
            <a:ext cx="7489159" cy="812800"/>
          </a:xfrm>
        </p:spPr>
        <p:txBody>
          <a:bodyPr lIns="0" anchor="b">
            <a:normAutofit/>
          </a:bodyPr>
          <a:lstStyle>
            <a:lvl1pPr marL="0" indent="0">
              <a:buNone/>
              <a:defRPr sz="1600" b="0" i="0" spc="300">
                <a:solidFill>
                  <a:srgbClr val="FFECE6"/>
                </a:solidFill>
                <a:latin typeface="Metropolis Extra Light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4256CC-84D5-0646-BD44-02191960D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60685" y="6356368"/>
            <a:ext cx="3392715" cy="365125"/>
          </a:xfrm>
        </p:spPr>
        <p:txBody>
          <a:bodyPr/>
          <a:lstStyle>
            <a:lvl1pPr>
              <a:defRPr>
                <a:solidFill>
                  <a:srgbClr val="FFECE6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E73A40-A8F0-E143-80BC-A0AC4AAF2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ECE6"/>
                </a:solidFill>
              </a:defRPr>
            </a:lvl1pPr>
          </a:lstStyle>
          <a:p>
            <a:fld id="{96ACBB43-5C7B-084B-877B-5EF90931306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F69981D-893B-9B47-A36C-4AEE6DF3CF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  <a:lum bright="47000"/>
          </a:blip>
          <a:stretch>
            <a:fillRect/>
          </a:stretch>
        </p:blipFill>
        <p:spPr>
          <a:xfrm flipV="1">
            <a:off x="2628632" y="4688659"/>
            <a:ext cx="591257" cy="8325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23B65CD-19D2-48DC-94CB-A629454124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100000"/>
          </a:blip>
          <a:stretch>
            <a:fillRect/>
          </a:stretch>
        </p:blipFill>
        <p:spPr>
          <a:xfrm>
            <a:off x="275943" y="6369829"/>
            <a:ext cx="1664793" cy="25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558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656">
          <p15:clr>
            <a:srgbClr val="FBAE40"/>
          </p15:clr>
        </p15:guide>
      </p15:sldGuideLst>
    </p:ext>
  </p:extLst>
</p:sldLayout>
</file>

<file path=ppt/slideLayouts/slideLayout1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1F221-2BC3-E54F-B0FA-0E997C82FF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7651" y="677144"/>
            <a:ext cx="9356368" cy="390523"/>
          </a:xfrm>
        </p:spPr>
        <p:txBody>
          <a:bodyPr/>
          <a:lstStyle>
            <a:lvl1pPr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38DE30-E2CF-F94F-BA4F-A647229E91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A18297-ED40-AE4D-B8E3-4B14EACD6F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96ACBB43-5C7B-084B-877B-5EF9093130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54F4AF3-3E0A-D14B-AFA1-1B60797F5DA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17651" y="1394850"/>
            <a:ext cx="10398412" cy="4734491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/>
            </a:lvl1pPr>
            <a:lvl2pPr marL="854075" indent="-393700">
              <a:defRPr/>
            </a:lvl2pPr>
            <a:lvl3pPr marL="1203325" indent="-365125">
              <a:defRPr/>
            </a:lvl3pPr>
            <a:lvl4pPr marL="1539875" indent="-342900">
              <a:defRPr/>
            </a:lvl4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Level 2</a:t>
            </a:r>
          </a:p>
          <a:p>
            <a:pPr lvl="2"/>
            <a:r>
              <a:rPr lang="en-US" dirty="0"/>
              <a:t>Level 3</a:t>
            </a:r>
          </a:p>
          <a:p>
            <a:pPr lvl="3"/>
            <a:r>
              <a:rPr lang="en-US" dirty="0"/>
              <a:t>Level 4</a:t>
            </a:r>
          </a:p>
          <a:p>
            <a:pPr lvl="2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81DECFA-CB67-4136-92B7-52DD0D6F4EA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5943" y="6369829"/>
            <a:ext cx="1664793" cy="25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08274"/>
      </p:ext>
    </p:extLst>
  </p:cSld>
  <p:clrMapOvr>
    <a:masterClrMapping/>
  </p:clrMapOvr>
</p:sldLayout>
</file>

<file path=ppt/slideLayouts/slideLayout15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F0DD66-77C0-7241-9B19-FF637C83DC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578429" y="4221016"/>
            <a:ext cx="3494315" cy="1319814"/>
          </a:xfrm>
        </p:spPr>
        <p:txBody>
          <a:bodyPr lIns="0"/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EDD8F-91EE-B741-8CC7-A1B75474A3C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277531" y="675864"/>
            <a:ext cx="6927256" cy="5907131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BA8FBA-0F69-7E4B-8131-B8C9E5AC4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436919"/>
            <a:ext cx="5060080" cy="2597299"/>
          </a:xfrm>
        </p:spPr>
        <p:txBody>
          <a:bodyPr anchor="b">
            <a:noAutofit/>
          </a:bodyPr>
          <a:lstStyle>
            <a:lvl1pPr>
              <a:defRPr sz="5000" b="1" i="0" spc="-150">
                <a:solidFill>
                  <a:schemeClr val="accent1">
                    <a:lumMod val="50000"/>
                  </a:schemeClr>
                </a:solidFill>
                <a:latin typeface="Spectral ExtraBold" panose="02020502060000000000" pitchFamily="18" charset="77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8FAF02-950B-4B1B-AC2A-4C83655E8D1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5943" y="6369829"/>
            <a:ext cx="1664793" cy="25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116039"/>
      </p:ext>
    </p:extLst>
  </p:cSld>
  <p:clrMapOvr>
    <a:masterClrMapping/>
  </p:clrMapOvr>
</p:sldLayout>
</file>

<file path=ppt/slideLayouts/slideLayout15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8A0BC1-E26E-F348-8264-AE55E0867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7467" y="600034"/>
            <a:ext cx="10163196" cy="275647"/>
          </a:xfrm>
        </p:spPr>
        <p:txBody>
          <a:bodyPr/>
          <a:lstStyle>
            <a:lvl1pPr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515E8F-7CC1-7A45-9C9D-F49BF2CAE0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63880" y="1324554"/>
            <a:ext cx="5157787" cy="537177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77B413C-B2A5-2B49-A4B8-E9FFD6BBEF5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1184779" y="2200533"/>
            <a:ext cx="5136889" cy="3356642"/>
          </a:xfrm>
        </p:spPr>
        <p:txBody>
          <a:bodyPr/>
          <a:lstStyle>
            <a:lvl1pPr>
              <a:defRPr sz="2800"/>
            </a:lvl1pPr>
            <a:lvl3pPr marL="800100" indent="-34290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0C7541-396E-B04E-BA5F-78A114E037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519452" y="1324554"/>
            <a:ext cx="5160039" cy="537177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68678F0-C2AA-FE49-BABD-8E84BFBA8868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542589" y="2200533"/>
            <a:ext cx="5160040" cy="3356642"/>
          </a:xfrm>
        </p:spPr>
        <p:txBody>
          <a:bodyPr/>
          <a:lstStyle>
            <a:lvl1pPr>
              <a:defRPr sz="2800"/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6CF3B6-96DD-354B-9D35-097AC7F6B8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5B91E0-4870-CD48-8ECC-1DBCDBF283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96ACBB43-5C7B-084B-877B-5EF90931306D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882155A-D15F-6441-98DD-4C50FAA1A628}"/>
              </a:ext>
            </a:extLst>
          </p:cNvPr>
          <p:cNvCxnSpPr/>
          <p:nvPr userDrawn="1"/>
        </p:nvCxnSpPr>
        <p:spPr>
          <a:xfrm>
            <a:off x="1163880" y="1183938"/>
            <a:ext cx="5157787" cy="0"/>
          </a:xfrm>
          <a:prstGeom prst="line">
            <a:avLst/>
          </a:prstGeom>
          <a:ln w="47625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42D5B9-E51E-504A-A069-E877528889DD}"/>
              </a:ext>
            </a:extLst>
          </p:cNvPr>
          <p:cNvCxnSpPr>
            <a:cxnSpLocks/>
          </p:cNvCxnSpPr>
          <p:nvPr userDrawn="1"/>
        </p:nvCxnSpPr>
        <p:spPr>
          <a:xfrm>
            <a:off x="6496295" y="1183938"/>
            <a:ext cx="5183188" cy="0"/>
          </a:xfrm>
          <a:prstGeom prst="line">
            <a:avLst/>
          </a:prstGeom>
          <a:ln w="47625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C1C28F0-BE87-4D4C-8ABB-585C9A7178AB}"/>
              </a:ext>
            </a:extLst>
          </p:cNvPr>
          <p:cNvCxnSpPr/>
          <p:nvPr userDrawn="1"/>
        </p:nvCxnSpPr>
        <p:spPr>
          <a:xfrm>
            <a:off x="1163880" y="2075189"/>
            <a:ext cx="5157787" cy="0"/>
          </a:xfrm>
          <a:prstGeom prst="line">
            <a:avLst/>
          </a:prstGeom>
          <a:ln w="15875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F103DE9-94D1-6845-BD4E-842135DC9FF6}"/>
              </a:ext>
            </a:extLst>
          </p:cNvPr>
          <p:cNvCxnSpPr>
            <a:cxnSpLocks/>
          </p:cNvCxnSpPr>
          <p:nvPr userDrawn="1"/>
        </p:nvCxnSpPr>
        <p:spPr>
          <a:xfrm>
            <a:off x="6519440" y="2075189"/>
            <a:ext cx="5160040" cy="0"/>
          </a:xfrm>
          <a:prstGeom prst="line">
            <a:avLst/>
          </a:prstGeom>
          <a:ln w="15875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9B66F85-9BD7-4043-B761-2BAD2FFD09F6}"/>
              </a:ext>
            </a:extLst>
          </p:cNvPr>
          <p:cNvCxnSpPr>
            <a:cxnSpLocks/>
          </p:cNvCxnSpPr>
          <p:nvPr userDrawn="1"/>
        </p:nvCxnSpPr>
        <p:spPr>
          <a:xfrm>
            <a:off x="1187032" y="5956762"/>
            <a:ext cx="5134639" cy="0"/>
          </a:xfrm>
          <a:prstGeom prst="line">
            <a:avLst/>
          </a:prstGeom>
          <a:ln w="15875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ABBB607-D0F6-8148-93DE-AB163FE92524}"/>
              </a:ext>
            </a:extLst>
          </p:cNvPr>
          <p:cNvCxnSpPr>
            <a:cxnSpLocks/>
          </p:cNvCxnSpPr>
          <p:nvPr userDrawn="1"/>
        </p:nvCxnSpPr>
        <p:spPr>
          <a:xfrm>
            <a:off x="6542589" y="5956762"/>
            <a:ext cx="5160040" cy="0"/>
          </a:xfrm>
          <a:prstGeom prst="line">
            <a:avLst/>
          </a:prstGeom>
          <a:ln w="15875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21" name="Picture 20">
            <a:extLst>
              <a:ext uri="{FF2B5EF4-FFF2-40B4-BE49-F238E27FC236}">
                <a16:creationId xmlns:a16="http://schemas.microsoft.com/office/drawing/2014/main" id="{E176AB45-BDCE-4010-ABA8-DAC438A4C0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5943" y="6369829"/>
            <a:ext cx="1664793" cy="25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49904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1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1" name="Google Shape;1631;p2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2" name="Google Shape;1632;p20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633" name="Google Shape;1633;p2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34" name="Google Shape;1634;p2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35" name="Google Shape;1635;p2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36" name="Google Shape;1636;p2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7" name="Google Shape;1637;p2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38" name="Google Shape;1638;p20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9" name="Google Shape;1639;p20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40" name="Google Shape;1640;p2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41" name="Google Shape;1641;p2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With Anim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560286"/>
            <a:ext cx="10515600" cy="391286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2700" baseline="0">
                <a:latin typeface="Arial"/>
                <a:cs typeface="Arial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800" b="0" i="0" baseline="0">
                <a:solidFill>
                  <a:schemeClr val="bg1">
                    <a:lumMod val="50000"/>
                  </a:schemeClr>
                </a:solidFill>
                <a:latin typeface="Arial"/>
                <a:ea typeface="Gotham-Book" charset="0"/>
                <a:cs typeface="Arial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200" baseline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838199" y="344715"/>
            <a:ext cx="10515600" cy="879928"/>
          </a:xfrm>
        </p:spPr>
        <p:txBody>
          <a:bodyPr/>
          <a:lstStyle>
            <a:lvl1pPr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3605796"/>
      </p:ext>
    </p:extLst>
  </p:cSld>
  <p:clrMapOvr>
    <a:masterClrMapping/>
  </p:clrMapOvr>
  <p:transition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1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43" name="Google Shape;1643;p2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44" name="Google Shape;1644;p2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45" name="Google Shape;1645;p2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46" name="Google Shape;1646;p2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7" name="Google Shape;1647;p2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48" name="Google Shape;1648;p2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9" name="Google Shape;1649;p21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50" name="Google Shape;1650;p21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1" name="Google Shape;1651;p21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52" name="Google Shape;1652;p21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3" name="Google Shape;1653;p2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54" name="Google Shape;1654;p2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55" name="Google Shape;1655;p2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1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57" name="Google Shape;1657;p2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58" name="Google Shape;1658;p2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59" name="Google Shape;1659;p2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60" name="Google Shape;1660;p2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1" name="Google Shape;1661;p2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62" name="Google Shape;1662;p2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3" name="Google Shape;1663;p2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64" name="Google Shape;1664;p2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65" name="Google Shape;1665;p2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1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67" name="Google Shape;1667;p21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668" name="Google Shape;1668;p21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9" name="Google Shape;1669;p21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70" name="Google Shape;1670;p21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1" name="Google Shape;1671;p21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2" name="Google Shape;1672;p21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73" name="Google Shape;1673;p2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674" name="Google Shape;1674;p21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3">
    <p:spTree>
      <p:nvGrpSpPr>
        <p:cNvPr id="1" name="Shape 1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6" name="Google Shape;1676;p2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77" name="Google Shape;1677;p2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78" name="Google Shape;1678;p2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79" name="Google Shape;1679;p2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80" name="Google Shape;1680;p2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81" name="Google Shape;1681;p2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82" name="Google Shape;1682;p2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3" name="Google Shape;1683;p2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5">
    <p:spTree>
      <p:nvGrpSpPr>
        <p:cNvPr id="1" name="Shape 1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5" name="Google Shape;1685;p21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6" name="Google Shape;1686;p21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7" name="Google Shape;1687;p21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88" name="Google Shape;1688;p21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689" name="Google Shape;1689;p21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690" name="Google Shape;1690;p2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1" name="Google Shape;1691;p21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92" name="Google Shape;1692;p2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7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" name="Google Shape;160;p7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" name="Google Shape;161;p7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" name="Google Shape;162;p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3" name="Google Shape;163;p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4" name="Google Shape;164;p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5" name="Google Shape;165;p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6" name="Google Shape;166;p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7" name="Google Shape;167;p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8" name="Google Shape;168;p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0" name="Google Shape;170;p7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6">
    <p:bg>
      <p:bgPr>
        <a:solidFill>
          <a:schemeClr val="lt2"/>
        </a:solidFill>
        <a:effectLst/>
      </p:bgPr>
    </p:bg>
    <p:spTree>
      <p:nvGrpSpPr>
        <p:cNvPr id="1" name="Shape 16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94" name="Google Shape;1694;p21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695" name="Google Shape;1695;p21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6" name="Google Shape;1696;p2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7" name="Google Shape;1697;p21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98" name="Google Shape;1698;p2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99" name="Google Shape;1699;p21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0" name="Google Shape;1700;p21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17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2" name="Google Shape;1702;p21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03" name="Google Shape;1703;p21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04" name="Google Shape;1704;p21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705" name="Google Shape;1705;p21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6" name="Google Shape;1706;p21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07" name="Google Shape;1707;p21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08" name="Google Shape;1708;p2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4">
    <p:spTree>
      <p:nvGrpSpPr>
        <p:cNvPr id="1" name="Shape 1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0" name="Google Shape;1710;p2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11" name="Google Shape;1711;p2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2" name="Google Shape;1712;p2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3" name="Google Shape;1713;p2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14" name="Google Shape;1714;p2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15" name="Google Shape;1715;p2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16" name="Google Shape;1716;p2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17" name="Google Shape;1717;p2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18" name="Google Shape;1718;p2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19" name="Google Shape;1719;p2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0" name="Google Shape;1720;p2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21" name="Google Shape;1721;p21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7">
    <p:spTree>
      <p:nvGrpSpPr>
        <p:cNvPr id="1" name="Shape 1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23" name="Google Shape;1723;p2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24" name="Google Shape;1724;p2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25" name="Google Shape;1725;p2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26" name="Google Shape;1726;p2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7" name="Google Shape;1727;p2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28" name="Google Shape;1728;p2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9" name="Google Shape;1729;p21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0" name="Google Shape;1730;p2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31" name="Google Shape;1731;p2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32" name="Google Shape;1732;p2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1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4" name="Google Shape;1734;p2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5" name="Google Shape;1735;p21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36" name="Google Shape;1736;p2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37" name="Google Shape;1737;p2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38" name="Google Shape;1738;p2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39" name="Google Shape;1739;p2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40" name="Google Shape;1740;p2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41" name="Google Shape;1741;p21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2" name="Google Shape;1742;p21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43" name="Google Shape;1743;p2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44" name="Google Shape;1744;p2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3">
    <p:spTree>
      <p:nvGrpSpPr>
        <p:cNvPr id="1" name="Shape 17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6" name="Google Shape;1746;p2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47" name="Google Shape;1747;p2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48" name="Google Shape;1748;p2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49" name="Google Shape;1749;p2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0" name="Google Shape;1750;p2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51" name="Google Shape;1751;p2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2" name="Google Shape;1752;p22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53" name="Google Shape;1753;p22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4" name="Google Shape;1754;p22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55" name="Google Shape;1755;p22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6" name="Google Shape;1756;p2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57" name="Google Shape;1757;p2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58" name="Google Shape;1758;p2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3">
    <p:spTree>
      <p:nvGrpSpPr>
        <p:cNvPr id="1" name="Shape 17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60" name="Google Shape;1760;p2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61" name="Google Shape;1761;p2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2" name="Google Shape;1762;p2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63" name="Google Shape;1763;p2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4" name="Google Shape;1764;p2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65" name="Google Shape;1765;p2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6" name="Google Shape;1766;p2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67" name="Google Shape;1767;p2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68" name="Google Shape;1768;p2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4">
    <p:spTree>
      <p:nvGrpSpPr>
        <p:cNvPr id="1" name="Shape 17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70" name="Google Shape;1770;p22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771" name="Google Shape;1771;p22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2" name="Google Shape;1772;p22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73" name="Google Shape;1773;p22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74" name="Google Shape;1774;p22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5" name="Google Shape;1775;p22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76" name="Google Shape;1776;p2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777" name="Google Shape;1777;p22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4"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9" name="Google Shape;1779;p2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80" name="Google Shape;1780;p2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81" name="Google Shape;1781;p2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82" name="Google Shape;1782;p2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83" name="Google Shape;1783;p2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84" name="Google Shape;1784;p2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85" name="Google Shape;1785;p2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6" name="Google Shape;1786;p2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5">
    <p:spTree>
      <p:nvGrpSpPr>
        <p:cNvPr id="1" name="Shape 17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8" name="Google Shape;1788;p22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89" name="Google Shape;1789;p22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0" name="Google Shape;1790;p22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1" name="Google Shape;1791;p2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92" name="Google Shape;1792;p2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93" name="Google Shape;1793;p2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94" name="Google Shape;1794;p2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95" name="Google Shape;1795;p2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96" name="Google Shape;1796;p2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97" name="Google Shape;1797;p2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8" name="Google Shape;1798;p2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99" name="Google Shape;1799;p22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" name="Google Shape;173;p7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4" name="Google Shape;174;p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5" name="Google Shape;175;p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" name="Google Shape;176;p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7" name="Google Shape;177;p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" name="Google Shape;178;p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9" name="Google Shape;179;p7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7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" name="Google Shape;181;p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2" name="Google Shape;182;p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">
    <p:bg>
      <p:bgPr>
        <a:solidFill>
          <a:schemeClr val="lt1"/>
        </a:solidFill>
        <a:effectLst/>
      </p:bgPr>
    </p:bg>
    <p:spTree>
      <p:nvGrpSpPr>
        <p:cNvPr id="1" name="Shape 1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1" name="Google Shape;1801;p225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2" name="Google Shape;1802;p225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803" name="Google Shape;1803;p2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804" name="Google Shape;1804;p225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805" name="Google Shape;1805;p22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806" name="Google Shape;1806;p225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7" name="Google Shape;1807;p225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8" name="Google Shape;1808;p225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9" name="Google Shape;1809;p2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0" name="Google Shape;1810;p22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11" name="Google Shape;1811;p2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4">
    <p:spTree>
      <p:nvGrpSpPr>
        <p:cNvPr id="1" name="Shape 1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3" name="Google Shape;1813;p22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14" name="Google Shape;1814;p22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5" name="Google Shape;1815;p22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6" name="Google Shape;1816;p2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7" name="Google Shape;1817;p2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8" name="Google Shape;1818;p2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19" name="Google Shape;1819;p2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20" name="Google Shape;1820;p2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21" name="Google Shape;1821;p2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22" name="Google Shape;1822;p2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23" name="Google Shape;1823;p2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24" name="Google Shape;1824;p22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ation">
  <p:cSld name="1_Quotation">
    <p:spTree>
      <p:nvGrpSpPr>
        <p:cNvPr id="1" name="Shape 1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6" name="Google Shape;1826;p22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27" name="Google Shape;1827;p22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8" name="Google Shape;1828;p22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9" name="Google Shape;1829;p2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30" name="Google Shape;1830;p2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31" name="Google Shape;1831;p2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32" name="Google Shape;1832;p2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33" name="Google Shape;1833;p2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34" name="Google Shape;1834;p2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35" name="Google Shape;1835;p2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6" name="Google Shape;1836;p2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37" name="Google Shape;1837;p22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8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9" name="Google Shape;1839;p228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0" name="Google Shape;1840;p228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41" name="Google Shape;1841;p22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42" name="Google Shape;1842;p2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3" name="Google Shape;1843;p2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5" name="Google Shape;1845;p22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6" name="Google Shape;1846;p22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7" name="Google Shape;1847;p22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48" name="Google Shape;1848;p2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9" name="Google Shape;1849;p2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50" name="Google Shape;1850;p22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1" name="Google Shape;1851;p22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2" name="Google Shape;1852;p22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53" name="Google Shape;1853;p2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18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5" name="Google Shape;1855;p23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6" name="Google Shape;1856;p23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7" name="Google Shape;1857;p2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58" name="Google Shape;1858;p2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9" name="Google Shape;1859;p2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60" name="Google Shape;1860;p23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1" name="Google Shape;1861;p23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2" name="Google Shape;1862;p23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63" name="Google Shape;1863;p2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5" name="Google Shape;1865;p23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6" name="Google Shape;1866;p23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7" name="Google Shape;1867;p23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8" name="Google Shape;1868;p23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69" name="Google Shape;1869;p2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8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1" name="Google Shape;1871;p23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872" name="Google Shape;1872;p2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873" name="Google Shape;1873;p23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4" name="Google Shape;1874;p23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5" name="Google Shape;1875;p23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7" name="Google Shape;1877;p23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8" name="Google Shape;1878;p23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9" name="Google Shape;1879;p23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0" name="Google Shape;1880;p23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1" name="Google Shape;1881;p23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882" name="Google Shape;1882;p2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1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" name="Google Shape;1884;p2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5" name="Google Shape;1885;p2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6" name="Google Shape;1886;p2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87" name="Google Shape;1887;p2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8" name="Google Shape;1888;p2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89" name="Google Shape;1889;p2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0" name="Google Shape;1890;p2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1" name="Google Shape;1891;p2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92" name="Google Shape;1892;p2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4" name="Google Shape;184;p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5" name="Google Shape;185;p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6" name="Google Shape;186;p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7" name="Google Shape;187;p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" name="Google Shape;188;p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9" name="Google Shape;189;p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" name="Google Shape;190;p7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1" name="Google Shape;191;p7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" name="Google Shape;192;p7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3" name="Google Shape;193;p7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4" name="Google Shape;194;p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5" name="Google Shape;195;p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" name="Google Shape;196;p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18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" name="Google Shape;1894;p23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5" name="Google Shape;1895;p2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6" name="Google Shape;1896;p2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7" name="Google Shape;1897;p23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98" name="Google Shape;1898;p2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18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0" name="Google Shape;1900;p23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01" name="Google Shape;1901;p2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902" name="Google Shape;1902;p23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3" name="Google Shape;1903;p23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4" name="Google Shape;1904;p23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19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6" name="Google Shape;1906;p23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7" name="Google Shape;1907;p23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8" name="Google Shape;1908;p23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9" name="Google Shape;1909;p23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0" name="Google Shape;1910;p23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11" name="Google Shape;1911;p2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19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3" name="Google Shape;1913;p23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4" name="Google Shape;1914;p23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5" name="Google Shape;1915;p23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16" name="Google Shape;1916;p2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7" name="Google Shape;1917;p2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18" name="Google Shape;1918;p23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19" name="Google Shape;1919;p23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0" name="Google Shape;1920;p23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21" name="Google Shape;1921;p2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19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3" name="Google Shape;1923;p23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4" name="Google Shape;1924;p23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5" name="Google Shape;1925;p23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26" name="Google Shape;1926;p2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7" name="Google Shape;1927;p2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28" name="Google Shape;1928;p23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9" name="Google Shape;1929;p23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30" name="Google Shape;1930;p23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31" name="Google Shape;1931;p2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19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3" name="Google Shape;1933;p24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4" name="Google Shape;1934;p24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35" name="Google Shape;1935;p24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36" name="Google Shape;1936;p2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37" name="Google Shape;1937;p2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38" name="Google Shape;1938;p24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39" name="Google Shape;1939;p24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0" name="Google Shape;1940;p24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41" name="Google Shape;1941;p2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19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3" name="Google Shape;1943;p24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44" name="Google Shape;1944;p24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5" name="Google Shape;1945;p24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6" name="Google Shape;1946;p24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47" name="Google Shape;1947;p2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1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9" name="Google Shape;1949;p24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50" name="Google Shape;1950;p2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951" name="Google Shape;1951;p24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2" name="Google Shape;1952;p24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3" name="Google Shape;1953;p24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1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" name="Google Shape;1955;p24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6" name="Google Shape;1956;p24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7" name="Google Shape;1957;p24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8" name="Google Shape;1958;p24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9" name="Google Shape;1959;p24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60" name="Google Shape;1960;p2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19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2" name="Google Shape;1962;p24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63" name="Google Shape;1963;p24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4" name="Google Shape;1964;p24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65" name="Google Shape;1965;p2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6" name="Google Shape;1966;p2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67" name="Google Shape;1967;p24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8" name="Google Shape;1968;p24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9" name="Google Shape;1969;p24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70" name="Google Shape;1970;p2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8" name="Google Shape;198;p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9" name="Google Shape;199;p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0" name="Google Shape;200;p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01" name="Google Shape;201;p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2" name="Google Shape;202;p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3" name="Google Shape;203;p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" name="Google Shape;204;p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5" name="Google Shape;205;p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6" name="Google Shape;206;p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19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2" name="Google Shape;1972;p24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3" name="Google Shape;1973;p24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74" name="Google Shape;1974;p24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75" name="Google Shape;1975;p24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76" name="Google Shape;1976;p2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19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8" name="Google Shape;1978;p24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79" name="Google Shape;1979;p2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980" name="Google Shape;1980;p24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1" name="Google Shape;1981;p24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82" name="Google Shape;1982;p24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1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4" name="Google Shape;1984;p24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5" name="Google Shape;1985;p24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6" name="Google Shape;1986;p24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7" name="Google Shape;1987;p24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8" name="Google Shape;1988;p24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89" name="Google Shape;1989;p2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19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1" name="Google Shape;1991;p24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92" name="Google Shape;1992;p24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93" name="Google Shape;1993;p24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94" name="Google Shape;1994;p24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95" name="Google Shape;1995;p2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1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7" name="Google Shape;1997;p24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98" name="Google Shape;1998;p2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999" name="Google Shape;1999;p24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00" name="Google Shape;2000;p24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01" name="Google Shape;2001;p24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2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3" name="Google Shape;2003;p25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04" name="Google Shape;2004;p25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05" name="Google Shape;2005;p25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06" name="Google Shape;2006;p25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07" name="Google Shape;2007;p25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008" name="Google Shape;2008;p2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20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0" name="Google Shape;2010;p25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11" name="Google Shape;2011;p25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12" name="Google Shape;2012;p25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13" name="Google Shape;2013;p2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14" name="Google Shape;2014;p2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15" name="Google Shape;2015;p25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6" name="Google Shape;2016;p25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7" name="Google Shape;2017;p25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18" name="Google Shape;2018;p2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2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0" name="Google Shape;2020;p25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21" name="Google Shape;2021;p25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2" name="Google Shape;2022;p25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23" name="Google Shape;2023;p2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4" name="Google Shape;2024;p2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25" name="Google Shape;2025;p25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26" name="Google Shape;2026;p25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27" name="Google Shape;2027;p25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28" name="Google Shape;2028;p2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20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0" name="Google Shape;2030;p25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31" name="Google Shape;2031;p25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2" name="Google Shape;2032;p25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3" name="Google Shape;2033;p25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34" name="Google Shape;2034;p2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2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6" name="Google Shape;2036;p25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37" name="Google Shape;2037;p2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2038" name="Google Shape;2038;p25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9" name="Google Shape;2039;p25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0" name="Google Shape;2040;p25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" name="Google Shape;25;p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" name="Google Shape;26;p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" name="Google Shape;27;p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" name="Google Shape;28;p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" name="Google Shape;29;p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" name="Google Shape;30;p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" name="Google Shape;31;p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8" name="Google Shape;208;p7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09" name="Google Shape;209;p7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" name="Google Shape;210;p7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1" name="Google Shape;211;p7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2" name="Google Shape;212;p7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3" name="Google Shape;213;p7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14" name="Google Shape;214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15" name="Google Shape;215;p7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2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2" name="Google Shape;2042;p25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43" name="Google Shape;2043;p25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44" name="Google Shape;2044;p25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45" name="Google Shape;2045;p25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46" name="Google Shape;2046;p25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047" name="Google Shape;2047;p2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10">
    <p:spTree>
      <p:nvGrpSpPr>
        <p:cNvPr id="1" name="Shape 20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Google Shape;2049;p25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50" name="Google Shape;2050;p25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51" name="Google Shape;2051;p25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52" name="Google Shape;2052;p2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53" name="Google Shape;2053;p2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54" name="Google Shape;2054;p25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55" name="Google Shape;2055;p25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56" name="Google Shape;2056;p25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57" name="Google Shape;2057;p2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2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9" name="Google Shape;2059;p257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60" name="Google Shape;2060;p25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1" name="Google Shape;2061;p25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2" name="Google Shape;2062;p257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63" name="Google Shape;2063;p2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2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5" name="Google Shape;2065;p25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66" name="Google Shape;2066;p2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2067" name="Google Shape;2067;p25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8" name="Google Shape;2068;p258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69" name="Google Shape;2069;p258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20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1" name="Google Shape;2071;p25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2" name="Google Shape;2072;p25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3" name="Google Shape;2073;p259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74" name="Google Shape;2074;p259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75" name="Google Shape;2075;p259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076" name="Google Shape;2076;p2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6">
    <p:spTree>
      <p:nvGrpSpPr>
        <p:cNvPr id="1" name="Shape 20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8" name="Google Shape;2078;p26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9" name="Google Shape;2079;p26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80" name="Google Shape;2080;p26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081" name="Google Shape;2081;p2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082" name="Google Shape;2082;p26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083" name="Google Shape;2083;p2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4" name="Google Shape;2084;p26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085" name="Google Shape;2085;p2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7">
    <p:bg>
      <p:bgPr>
        <a:solidFill>
          <a:schemeClr val="lt2"/>
        </a:solidFill>
        <a:effectLst/>
      </p:bgPr>
    </p:bg>
    <p:spTree>
      <p:nvGrpSpPr>
        <p:cNvPr id="1" name="Shape 20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87" name="Google Shape;2087;p26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088" name="Google Shape;2088;p26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9" name="Google Shape;2089;p26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0" name="Google Shape;2090;p26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091" name="Google Shape;2091;p2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92" name="Google Shape;2092;p26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93" name="Google Shape;2093;p26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5">
    <p:spTree>
      <p:nvGrpSpPr>
        <p:cNvPr id="1" name="Shape 2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5" name="Google Shape;2095;p26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096" name="Google Shape;2096;p26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097" name="Google Shape;2097;p26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098" name="Google Shape;2098;p26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9" name="Google Shape;2099;p26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00" name="Google Shape;2100;p26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101" name="Google Shape;2101;p2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5">
    <p:spTree>
      <p:nvGrpSpPr>
        <p:cNvPr id="1" name="Shape 2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3" name="Google Shape;2103;p2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04" name="Google Shape;2104;p2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05" name="Google Shape;2105;p2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06" name="Google Shape;2106;p2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07" name="Google Shape;2107;p2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08" name="Google Shape;2108;p2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109" name="Google Shape;2109;p2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10" name="Google Shape;2110;p2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11" name="Google Shape;2111;p2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12" name="Google Shape;2112;p2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3" name="Google Shape;2113;p2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114" name="Google Shape;2114;p2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4">
    <p:spTree>
      <p:nvGrpSpPr>
        <p:cNvPr id="1" name="Shape 2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6" name="Google Shape;2116;p2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17" name="Google Shape;2117;p26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118" name="Google Shape;2118;p2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19" name="Google Shape;2119;p2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20" name="Google Shape;2120;p2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21" name="Google Shape;2121;p2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2" name="Google Shape;2122;p2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23" name="Google Shape;2123;p26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24" name="Google Shape;2124;p26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25" name="Google Shape;2125;p2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26" name="Google Shape;2126;p2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8" name="Google Shape;218;p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9" name="Google Shape;219;p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0" name="Google Shape;220;p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1" name="Google Shape;221;p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" name="Google Shape;222;p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3" name="Google Shape;223;p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4">
    <p:spTree>
      <p:nvGrpSpPr>
        <p:cNvPr id="1" name="Shape 2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28" name="Google Shape;2128;p2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29" name="Google Shape;2129;p2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30" name="Google Shape;2130;p2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31" name="Google Shape;2131;p2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2" name="Google Shape;2132;p2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33" name="Google Shape;2133;p2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4" name="Google Shape;2134;p26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135" name="Google Shape;2135;p26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36" name="Google Shape;2136;p26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137" name="Google Shape;2137;p26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38" name="Google Shape;2138;p2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39" name="Google Shape;2139;p2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40" name="Google Shape;2140;p2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4">
    <p:spTree>
      <p:nvGrpSpPr>
        <p:cNvPr id="1" name="Shape 2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42" name="Google Shape;2142;p2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43" name="Google Shape;2143;p2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44" name="Google Shape;2144;p2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45" name="Google Shape;2145;p2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6" name="Google Shape;2146;p2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47" name="Google Shape;2147;p2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48" name="Google Shape;2148;p2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49" name="Google Shape;2149;p2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50" name="Google Shape;2150;p2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5">
    <p:spTree>
      <p:nvGrpSpPr>
        <p:cNvPr id="1" name="Shape 2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52" name="Google Shape;2152;p26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153" name="Google Shape;2153;p26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54" name="Google Shape;2154;p26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55" name="Google Shape;2155;p26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56" name="Google Shape;2156;p26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57" name="Google Shape;2157;p26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158" name="Google Shape;2158;p2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159" name="Google Shape;2159;p26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5">
    <p:spTree>
      <p:nvGrpSpPr>
        <p:cNvPr id="1" name="Shape 2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1" name="Google Shape;2161;p2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62" name="Google Shape;2162;p2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63" name="Google Shape;2163;p2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164" name="Google Shape;2164;p2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65" name="Google Shape;2165;p2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66" name="Google Shape;2166;p2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67" name="Google Shape;2167;p2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8" name="Google Shape;2168;p2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7">
    <p:spTree>
      <p:nvGrpSpPr>
        <p:cNvPr id="1" name="Shape 2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0" name="Google Shape;2170;p26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71" name="Google Shape;2171;p26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72" name="Google Shape;2172;p26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173" name="Google Shape;2173;p26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174" name="Google Shape;2174;p26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175" name="Google Shape;2175;p26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6" name="Google Shape;2176;p26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177" name="Google Shape;2177;p2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8">
    <p:bg>
      <p:bgPr>
        <a:solidFill>
          <a:schemeClr val="lt2"/>
        </a:solidFill>
        <a:effectLst/>
      </p:bgPr>
    </p:bg>
    <p:spTree>
      <p:nvGrpSpPr>
        <p:cNvPr id="1" name="Shape 2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79" name="Google Shape;2179;p27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180" name="Google Shape;2180;p27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1" name="Google Shape;2181;p27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2" name="Google Shape;2182;p27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183" name="Google Shape;2183;p2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184" name="Google Shape;2184;p27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85" name="Google Shape;2185;p27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6">
    <p:spTree>
      <p:nvGrpSpPr>
        <p:cNvPr id="1" name="Shape 2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7" name="Google Shape;2187;p27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188" name="Google Shape;2188;p27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189" name="Google Shape;2189;p27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190" name="Google Shape;2190;p27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1" name="Google Shape;2191;p27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92" name="Google Shape;2192;p27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193" name="Google Shape;2193;p2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6">
    <p:spTree>
      <p:nvGrpSpPr>
        <p:cNvPr id="1" name="Shape 2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5" name="Google Shape;2195;p2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96" name="Google Shape;2196;p2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7" name="Google Shape;2197;p2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98" name="Google Shape;2198;p2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99" name="Google Shape;2199;p2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00" name="Google Shape;2200;p2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01" name="Google Shape;2201;p2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02" name="Google Shape;2202;p2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03" name="Google Shape;2203;p2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04" name="Google Shape;2204;p2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5" name="Google Shape;2205;p2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206" name="Google Shape;2206;p27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8">
    <p:spTree>
      <p:nvGrpSpPr>
        <p:cNvPr id="1" name="Shape 2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08" name="Google Shape;2208;p2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09" name="Google Shape;2209;p2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10" name="Google Shape;2210;p2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11" name="Google Shape;2211;p2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12" name="Google Shape;2212;p2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13" name="Google Shape;2213;p2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14" name="Google Shape;2214;p27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15" name="Google Shape;2215;p2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16" name="Google Shape;2216;p2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17" name="Google Shape;2217;p2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5">
    <p:spTree>
      <p:nvGrpSpPr>
        <p:cNvPr id="1" name="Shape 2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9" name="Google Shape;2219;p2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20" name="Google Shape;2220;p27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221" name="Google Shape;2221;p2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22" name="Google Shape;2222;p2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3" name="Google Shape;2223;p2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24" name="Google Shape;2224;p2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25" name="Google Shape;2225;p2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26" name="Google Shape;2226;p27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27" name="Google Shape;2227;p27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28" name="Google Shape;2228;p2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29" name="Google Shape;2229;p2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7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7" name="Google Shape;227;p7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" name="Google Shape;228;p7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29" name="Google Shape;229;p7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30" name="Google Shape;230;p7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31" name="Google Shape;231;p7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2" name="Google Shape;232;p7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33" name="Google Shape;233;p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5">
    <p:spTree>
      <p:nvGrpSpPr>
        <p:cNvPr id="1" name="Shape 2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31" name="Google Shape;2231;p2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32" name="Google Shape;2232;p2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33" name="Google Shape;2233;p2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34" name="Google Shape;2234;p2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5" name="Google Shape;2235;p2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36" name="Google Shape;2236;p27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37" name="Google Shape;2237;p27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238" name="Google Shape;2238;p27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39" name="Google Shape;2239;p27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240" name="Google Shape;2240;p27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41" name="Google Shape;2241;p2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42" name="Google Shape;2242;p2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43" name="Google Shape;2243;p2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5">
    <p:spTree>
      <p:nvGrpSpPr>
        <p:cNvPr id="1" name="Shape 2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45" name="Google Shape;2245;p2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46" name="Google Shape;2246;p2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47" name="Google Shape;2247;p2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48" name="Google Shape;2248;p2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9" name="Google Shape;2249;p2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50" name="Google Shape;2250;p27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51" name="Google Shape;2251;p2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52" name="Google Shape;2252;p2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53" name="Google Shape;2253;p2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6">
    <p:spTree>
      <p:nvGrpSpPr>
        <p:cNvPr id="1" name="Shape 2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55" name="Google Shape;2255;p27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256" name="Google Shape;2256;p27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7" name="Google Shape;2257;p27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58" name="Google Shape;2258;p27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59" name="Google Shape;2259;p27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60" name="Google Shape;2260;p27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261" name="Google Shape;2261;p2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262" name="Google Shape;2262;p27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6">
    <p:spTree>
      <p:nvGrpSpPr>
        <p:cNvPr id="1" name="Shape 2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4" name="Google Shape;2264;p2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65" name="Google Shape;2265;p2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66" name="Google Shape;2266;p2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67" name="Google Shape;2267;p2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68" name="Google Shape;2268;p2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69" name="Google Shape;2269;p2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70" name="Google Shape;2270;p2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1" name="Google Shape;2271;p2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2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3" name="Google Shape;2273;p279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274" name="Google Shape;2274;p27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75" name="Google Shape;2275;p279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2276" name="Google Shape;2276;p279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277" name="Google Shape;2277;p279"/>
            <p:cNvPicPr preferRelativeResize="0"/>
            <p:nvPr/>
          </p:nvPicPr>
          <p:blipFill rotWithShape="1">
            <a:blip r:embed="rId3">
              <a:alphaModFix/>
            </a:blip>
            <a:srcRect l="7219" t="16937" r="72250" b="20588"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2278" name="Google Shape;2278;p279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79" name="Google Shape;2279;p279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0" name="Google Shape;2280;p279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81" name="Google Shape;2281;p279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2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3" name="Google Shape;2283;p280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84" name="Google Shape;2284;p280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5" name="Google Shape;2285;p280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86" name="Google Shape;2286;p280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87" name="Google Shape;2287;p2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288" name="Google Shape;2288;p280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22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90" name="Google Shape;2290;p2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91" name="Google Shape;2291;p2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92" name="Google Shape;2292;p2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93" name="Google Shape;2293;p2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4" name="Google Shape;2294;p2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95" name="Google Shape;2295;p2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96" name="Google Shape;2296;p2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97" name="Google Shape;2297;p2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98" name="Google Shape;2298;p2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99" name="Google Shape;2299;p2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2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1" name="Google Shape;2301;p28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302" name="Google Shape;2302;p28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303" name="Google Shape;2303;p28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304" name="Google Shape;2304;p28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5" name="Google Shape;2305;p28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06" name="Google Shape;2306;p28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307" name="Google Shape;2307;p2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">
    <p:spTree>
      <p:nvGrpSpPr>
        <p:cNvPr id="1" name="Shape 2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09" name="Google Shape;2309;p2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2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10" name="Google Shape;2310;p28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2311" name="Google Shape;2311;p283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12" name="Google Shape;2312;p283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Content">
  <p:cSld name="2_Title and Content 2">
    <p:spTree>
      <p:nvGrpSpPr>
        <p:cNvPr id="1" name="Shape 2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14" name="Google Shape;2314;p2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19" y="762"/>
            <a:ext cx="12189292" cy="6856476"/>
          </a:xfrm>
          <a:prstGeom prst="rect">
            <a:avLst/>
          </a:prstGeom>
          <a:noFill/>
          <a:ln>
            <a:noFill/>
          </a:ln>
        </p:spPr>
      </p:pic>
      <p:sp>
        <p:nvSpPr>
          <p:cNvPr id="2315" name="Google Shape;2315;p28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16" name="Google Shape;2316;p2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2pPr>
            <a:lvl3pPr marL="0" lvl="2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3pPr>
            <a:lvl4pPr marL="0" lvl="3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4pPr>
            <a:lvl5pPr marL="0" lvl="4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5pPr>
            <a:lvl6pPr marL="0" lvl="5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6pPr>
            <a:lvl7pPr marL="0" lvl="6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7pPr>
            <a:lvl8pPr marL="0" lvl="7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8pPr>
            <a:lvl9pPr marL="0" lvl="8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17" name="Google Shape;2317;p284"/>
          <p:cNvSpPr txBox="1">
            <a:spLocks noGrp="1"/>
          </p:cNvSpPr>
          <p:nvPr>
            <p:ph type="body" idx="1"/>
          </p:nvPr>
        </p:nvSpPr>
        <p:spPr>
          <a:xfrm>
            <a:off x="838200" y="1825629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" name="Google Shape;235;p7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36" name="Google Shape;236;p7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37" name="Google Shape;237;p7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38" name="Google Shape;238;p7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" name="Google Shape;239;p7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0" name="Google Shape;240;p7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41" name="Google Shape;241;p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Left">
  <p:cSld name="Image Left">
    <p:spTree>
      <p:nvGrpSpPr>
        <p:cNvPr id="1" name="Shape 2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19" name="Google Shape;2319;p2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2" cy="6856284"/>
          </a:xfrm>
          <a:prstGeom prst="rect">
            <a:avLst/>
          </a:prstGeom>
          <a:noFill/>
          <a:ln>
            <a:noFill/>
          </a:ln>
        </p:spPr>
      </p:pic>
      <p:sp>
        <p:nvSpPr>
          <p:cNvPr id="2320" name="Google Shape;2320;p285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59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21" name="Google Shape;2321;p2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2pPr>
            <a:lvl3pPr marL="0" lvl="2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3pPr>
            <a:lvl4pPr marL="0" lvl="3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4pPr>
            <a:lvl5pPr marL="0" lvl="4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5pPr>
            <a:lvl6pPr marL="0" lvl="5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6pPr>
            <a:lvl7pPr marL="0" lvl="6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7pPr>
            <a:lvl8pPr marL="0" lvl="7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8pPr>
            <a:lvl9pPr marL="0" lvl="8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22" name="Google Shape;2322;p285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59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reaker-4">
  <p:cSld name="Breaker-4">
    <p:spTree>
      <p:nvGrpSpPr>
        <p:cNvPr id="1" name="Shape 2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" name="Google Shape;2324;p2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25" name="Google Shape;2325;p28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2326" name="Google Shape;2326;p286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27" name="Google Shape;2327;p286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spTree>
      <p:nvGrpSpPr>
        <p:cNvPr id="1" name="Shape 23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9" name="Google Shape;2329;p2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30" name="Google Shape;2330;p2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31" name="Google Shape;2331;p2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32" name="Google Shape;2332;p28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Graphic Right">
  <p:cSld name="Blue Graphic Right">
    <p:spTree>
      <p:nvGrpSpPr>
        <p:cNvPr id="1" name="Shape 2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34" name="Google Shape;2334;p2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35" name="Google Shape;2335;p28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36" name="Google Shape;2336;p28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114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37" name="Google Shape;2337;p288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losing Slide">
  <p:cSld name="3-Closing Slide">
    <p:spTree>
      <p:nvGrpSpPr>
        <p:cNvPr id="1" name="Shape 2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39" name="Google Shape;2339;p2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340" name="Google Shape;2340;p28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 3">
    <p:spTree>
      <p:nvGrpSpPr>
        <p:cNvPr id="1" name="Shape 2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42" name="Google Shape;2342;p2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43" name="Google Shape;2343;p2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44" name="Google Shape;2344;p2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345" name="Google Shape;2345;p2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6" name="Google Shape;2346;p2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47" name="Google Shape;2347;p2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48" name="Google Shape;2348;p29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49" name="Google Shape;2349;p2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50" name="Google Shape;2350;p2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51" name="Google Shape;2351;p2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 2">
    <p:spTree>
      <p:nvGrpSpPr>
        <p:cNvPr id="1" name="Shape 23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3" name="Google Shape;2353;p29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354" name="Google Shape;2354;p29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355" name="Google Shape;2355;p29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356" name="Google Shape;2356;p29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7" name="Google Shape;2357;p29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58" name="Google Shape;2358;p29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359" name="Google Shape;2359;p2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 2">
    <p:spTree>
      <p:nvGrpSpPr>
        <p:cNvPr id="1" name="Shape 2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61" name="Google Shape;2361;p2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2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62" name="Google Shape;2362;p29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2363" name="Google Shape;2363;p292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64" name="Google Shape;2364;p292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Left">
  <p:cSld name="Image Left 2">
    <p:spTree>
      <p:nvGrpSpPr>
        <p:cNvPr id="1" name="Shape 2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66" name="Google Shape;2366;p2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2" cy="6856284"/>
          </a:xfrm>
          <a:prstGeom prst="rect">
            <a:avLst/>
          </a:prstGeom>
          <a:noFill/>
          <a:ln>
            <a:noFill/>
          </a:ln>
        </p:spPr>
      </p:pic>
      <p:sp>
        <p:nvSpPr>
          <p:cNvPr id="2367" name="Google Shape;2367;p293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59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68" name="Google Shape;2368;p2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2pPr>
            <a:lvl3pPr marL="0" lvl="2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3pPr>
            <a:lvl4pPr marL="0" lvl="3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4pPr>
            <a:lvl5pPr marL="0" lvl="4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5pPr>
            <a:lvl6pPr marL="0" lvl="5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6pPr>
            <a:lvl7pPr marL="0" lvl="6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7pPr>
            <a:lvl8pPr marL="0" lvl="7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8pPr>
            <a:lvl9pPr marL="0" lvl="8" indent="0" algn="r">
              <a:spcBef>
                <a:spcPts val="0"/>
              </a:spcBef>
              <a:buNone/>
              <a:defRPr>
                <a:solidFill>
                  <a:srgbClr val="59CBE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69" name="Google Shape;2369;p293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59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reaker-4">
  <p:cSld name="Breaker-4 2">
    <p:spTree>
      <p:nvGrpSpPr>
        <p:cNvPr id="1" name="Shape 2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71" name="Google Shape;2371;p2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72" name="Google Shape;2372;p29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2373" name="Google Shape;2373;p294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74" name="Google Shape;2374;p294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243;p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4" name="Google Shape;244;p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5" name="Google Shape;245;p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6" name="Google Shape;246;p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7" name="Google Shape;247;p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8" name="Google Shape;248;p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49" name="Google Shape;249;p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0" name="Google Shape;250;p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1" name="Google Shape;251;p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2" name="Google Shape;252;p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" name="Google Shape;253;p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4" name="Google Shape;254;p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 2">
    <p:spTree>
      <p:nvGrpSpPr>
        <p:cNvPr id="1" name="Shape 2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76" name="Google Shape;2376;p295"/>
          <p:cNvPicPr preferRelativeResize="0"/>
          <p:nvPr/>
        </p:nvPicPr>
        <p:blipFill rotWithShape="1">
          <a:blip r:embed="rId2">
            <a:alphaModFix/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77" name="Google Shape;2377;p2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78" name="Google Shape;2378;p2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79" name="Google Shape;2379;p29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Graphic Right">
  <p:cSld name="Blue Graphic Right 2">
    <p:spTree>
      <p:nvGrpSpPr>
        <p:cNvPr id="1" name="Shape 2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81" name="Google Shape;2381;p2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82" name="Google Shape;2382;p29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83" name="Google Shape;2383;p29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114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84" name="Google Shape;2384;p296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losing Slide">
  <p:cSld name="3-Closing Slide 2">
    <p:spTree>
      <p:nvGrpSpPr>
        <p:cNvPr id="1" name="Shape 2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86" name="Google Shape;2386;p2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387" name="Google Shape;2387;p29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11">
    <p:spTree>
      <p:nvGrpSpPr>
        <p:cNvPr id="1" name="Shape 2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9" name="Google Shape;2389;p29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90" name="Google Shape;2390;p29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91" name="Google Shape;2391;p29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92" name="Google Shape;2392;p2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93" name="Google Shape;2393;p2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94" name="Google Shape;2394;p29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95" name="Google Shape;2395;p29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96" name="Google Shape;2396;p29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397" name="Google Shape;2397;p2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">
    <p:spTree>
      <p:nvGrpSpPr>
        <p:cNvPr id="1" name="Shape 2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9" name="Google Shape;2399;p299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00" name="Google Shape;2400;p299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01" name="Google Shape;2401;p299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02" name="Google Shape;2402;p299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03" name="Google Shape;2403;p2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04" name="Google Shape;2404;p299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8">
    <p:spTree>
      <p:nvGrpSpPr>
        <p:cNvPr id="1" name="Shape 2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6" name="Google Shape;2406;p30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07" name="Google Shape;2407;p30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08" name="Google Shape;2408;p30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09" name="Google Shape;2409;p30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410" name="Google Shape;2410;p3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8">
    <p:spTree>
      <p:nvGrpSpPr>
        <p:cNvPr id="1" name="Shape 2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2" name="Google Shape;2412;p30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413" name="Google Shape;2413;p3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2414" name="Google Shape;2414;p30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15" name="Google Shape;2415;p30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16" name="Google Shape;2416;p30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8">
    <p:spTree>
      <p:nvGrpSpPr>
        <p:cNvPr id="1" name="Shape 24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8" name="Google Shape;2418;p30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19" name="Google Shape;2419;p30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20" name="Google Shape;2420;p30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21" name="Google Shape;2421;p30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22" name="Google Shape;2422;p30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423" name="Google Shape;2423;p3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2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5" name="Google Shape;2425;p303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26" name="Google Shape;2426;p303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2427" name="Google Shape;2427;p30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28" name="Google Shape;2428;p3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29" name="Google Shape;2429;p3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2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1" name="Google Shape;2431;p304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32" name="Google Shape;2432;p304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2433" name="Google Shape;2433;p304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2434" name="Google Shape;2434;p30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35" name="Google Shape;2435;p3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36" name="Google Shape;2436;p3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6" name="Google Shape;256;p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7" name="Google Shape;257;p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8" name="Google Shape;258;p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9" name="Google Shape;259;p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" name="Google Shape;260;p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1" name="Google Shape;261;p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2" name="Google Shape;262;p8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3" name="Google Shape;263;p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4" name="Google Shape;264;p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5" name="Google Shape;265;p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2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8" name="Google Shape;2438;p305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39" name="Google Shape;2439;p305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40" name="Google Shape;2440;p305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41" name="Google Shape;2441;p305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42" name="Google Shape;2442;p305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43" name="Google Shape;2443;p305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44" name="Google Shape;2444;p305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45" name="Google Shape;2445;p305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46" name="Google Shape;2446;p3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2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8" name="Google Shape;2448;p30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49" name="Google Shape;2449;p30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50" name="Google Shape;2450;p30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51" name="Google Shape;2451;p3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52" name="Google Shape;2452;p3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53" name="Google Shape;2453;p3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454" name="Google Shape;2454;p3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55" name="Google Shape;2455;p3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56" name="Google Shape;2456;p3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57" name="Google Shape;2457;p3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8" name="Google Shape;2458;p3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459" name="Google Shape;2459;p30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2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1" name="Google Shape;2461;p307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62" name="Google Shape;2462;p307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63" name="Google Shape;2463;p307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64" name="Google Shape;2464;p307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65" name="Google Shape;2465;p307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66" name="Google Shape;2466;p307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67" name="Google Shape;2467;p307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68" name="Google Shape;2468;p307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69" name="Google Shape;2469;p3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 4">
    <p:spTree>
      <p:nvGrpSpPr>
        <p:cNvPr id="1" name="Shape 2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71" name="Google Shape;2471;p3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72" name="Google Shape;2472;p3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73" name="Google Shape;2473;p3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74" name="Google Shape;2474;p3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5" name="Google Shape;2475;p3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76" name="Google Shape;2476;p3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77" name="Google Shape;2477;p30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78" name="Google Shape;2478;p3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79" name="Google Shape;2479;p3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80" name="Google Shape;2480;p3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 3">
    <p:spTree>
      <p:nvGrpSpPr>
        <p:cNvPr id="1" name="Shape 2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2" name="Google Shape;2482;p30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83" name="Google Shape;2483;p30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484" name="Google Shape;2484;p30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485" name="Google Shape;2485;p30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86" name="Google Shape;2486;p30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87" name="Google Shape;2487;p30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488" name="Google Shape;2488;p3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3">
    <p:spTree>
      <p:nvGrpSpPr>
        <p:cNvPr id="1" name="Shape 2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0" name="Google Shape;2490;p310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91" name="Google Shape;2491;p310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92" name="Google Shape;2492;p310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93" name="Google Shape;2493;p310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94" name="Google Shape;2494;p310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95" name="Google Shape;2495;p310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96" name="Google Shape;2496;p310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97" name="Google Shape;2497;p310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98" name="Google Shape;2498;p3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7">
    <p:spTree>
      <p:nvGrpSpPr>
        <p:cNvPr id="1" name="Shape 2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0" name="Google Shape;2500;p3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01" name="Google Shape;2501;p3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02" name="Google Shape;2502;p3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03" name="Google Shape;2503;p3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04" name="Google Shape;2504;p3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05" name="Google Shape;2505;p3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06" name="Google Shape;2506;p3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07" name="Google Shape;2507;p3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08" name="Google Shape;2508;p3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09" name="Google Shape;2509;p3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0" name="Google Shape;2510;p3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11" name="Google Shape;2511;p31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3">
    <p:spTree>
      <p:nvGrpSpPr>
        <p:cNvPr id="1" name="Shape 2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3" name="Google Shape;2513;p3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14" name="Google Shape;2514;p3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15" name="Google Shape;2515;p3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16" name="Google Shape;2516;p3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17" name="Google Shape;2517;p3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18" name="Google Shape;2518;p3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19" name="Google Shape;2519;p3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20" name="Google Shape;2520;p3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21" name="Google Shape;2521;p3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22" name="Google Shape;2522;p3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3" name="Google Shape;2523;p3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24" name="Google Shape;2524;p3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8">
    <p:spTree>
      <p:nvGrpSpPr>
        <p:cNvPr id="1" name="Shape 2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6" name="Google Shape;2526;p3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27" name="Google Shape;2527;p3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28" name="Google Shape;2528;p3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29" name="Google Shape;2529;p3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30" name="Google Shape;2530;p3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31" name="Google Shape;2531;p3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32" name="Google Shape;2532;p3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33" name="Google Shape;2533;p3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34" name="Google Shape;2534;p3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35" name="Google Shape;2535;p3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6" name="Google Shape;2536;p3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37" name="Google Shape;2537;p3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4">
    <p:spTree>
      <p:nvGrpSpPr>
        <p:cNvPr id="1" name="Shape 25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9" name="Google Shape;2539;p3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0" name="Google Shape;2540;p3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41" name="Google Shape;2541;p3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42" name="Google Shape;2542;p3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43" name="Google Shape;2543;p3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44" name="Google Shape;2544;p3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45" name="Google Shape;2545;p3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46" name="Google Shape;2546;p3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47" name="Google Shape;2547;p3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48" name="Google Shape;2548;p3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49" name="Google Shape;2549;p3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50" name="Google Shape;2550;p31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Google Shape;267;p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8" name="Google Shape;268;p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69" name="Google Shape;269;p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0" name="Google Shape;270;p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1" name="Google Shape;271;p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2" name="Google Shape;272;p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3" name="Google Shape;273;p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4" name="Google Shape;274;p8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" name="Google Shape;275;p8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6" name="Google Shape;276;p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7" name="Google Shape;277;p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8">
    <p:spTree>
      <p:nvGrpSpPr>
        <p:cNvPr id="1" name="Shape 2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2" name="Google Shape;2552;p31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53" name="Google Shape;2553;p31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54" name="Google Shape;2554;p31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555" name="Google Shape;2555;p31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556" name="Google Shape;2556;p31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557" name="Google Shape;2557;p3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8" name="Google Shape;2558;p31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559" name="Google Shape;2559;p3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9">
    <p:bg>
      <p:bgPr>
        <a:solidFill>
          <a:schemeClr val="lt2"/>
        </a:solidFill>
        <a:effectLst/>
      </p:bgPr>
    </p:bg>
    <p:spTree>
      <p:nvGrpSpPr>
        <p:cNvPr id="1" name="Shape 25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61" name="Google Shape;2561;p31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562" name="Google Shape;2562;p31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3" name="Google Shape;2563;p31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4" name="Google Shape;2564;p31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565" name="Google Shape;2565;p3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566" name="Google Shape;2566;p31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67" name="Google Shape;2567;p31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7">
    <p:spTree>
      <p:nvGrpSpPr>
        <p:cNvPr id="1" name="Shape 2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9" name="Google Shape;2569;p31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570" name="Google Shape;2570;p31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571" name="Google Shape;2571;p31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572" name="Google Shape;2572;p31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3" name="Google Shape;2573;p31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74" name="Google Shape;2574;p31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575" name="Google Shape;2575;p3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9">
    <p:spTree>
      <p:nvGrpSpPr>
        <p:cNvPr id="1" name="Shape 25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7" name="Google Shape;2577;p3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78" name="Google Shape;2578;p3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79" name="Google Shape;2579;p3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80" name="Google Shape;2580;p3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81" name="Google Shape;2581;p3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82" name="Google Shape;2582;p3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83" name="Google Shape;2583;p3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84" name="Google Shape;2584;p3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85" name="Google Shape;2585;p3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86" name="Google Shape;2586;p3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87" name="Google Shape;2587;p3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88" name="Google Shape;2588;p3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0">
    <p:spTree>
      <p:nvGrpSpPr>
        <p:cNvPr id="1" name="Shape 2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0" name="Google Shape;2590;p31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91" name="Google Shape;2591;p31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92" name="Google Shape;2592;p31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93" name="Google Shape;2593;p3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94" name="Google Shape;2594;p3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95" name="Google Shape;2595;p3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96" name="Google Shape;2596;p3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97" name="Google Shape;2597;p3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98" name="Google Shape;2598;p3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99" name="Google Shape;2599;p3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0" name="Google Shape;2600;p3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601" name="Google Shape;2601;p31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1">
    <p:spTree>
      <p:nvGrpSpPr>
        <p:cNvPr id="1" name="Shape 2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3" name="Google Shape;2603;p32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04" name="Google Shape;2604;p32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05" name="Google Shape;2605;p3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06" name="Google Shape;2606;p3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07" name="Google Shape;2607;p3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08" name="Google Shape;2608;p3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09" name="Google Shape;2609;p3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10" name="Google Shape;2610;p3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11" name="Google Shape;2611;p3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12" name="Google Shape;2612;p3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13" name="Google Shape;2613;p3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614" name="Google Shape;2614;p32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2">
    <p:spTree>
      <p:nvGrpSpPr>
        <p:cNvPr id="1" name="Shape 2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6" name="Google Shape;2616;p32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17" name="Google Shape;2617;p32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18" name="Google Shape;2618;p32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19" name="Google Shape;2619;p3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20" name="Google Shape;2620;p3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21" name="Google Shape;2621;p3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22" name="Google Shape;2622;p3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23" name="Google Shape;2623;p3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24" name="Google Shape;2624;p3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25" name="Google Shape;2625;p3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26" name="Google Shape;2626;p3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627" name="Google Shape;2627;p32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9">
    <p:spTree>
      <p:nvGrpSpPr>
        <p:cNvPr id="1" name="Shape 26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29" name="Google Shape;2629;p3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30" name="Google Shape;2630;p3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31" name="Google Shape;2631;p3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32" name="Google Shape;2632;p3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33" name="Google Shape;2633;p3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34" name="Google Shape;2634;p3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35" name="Google Shape;2635;p3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36" name="Google Shape;2636;p3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37" name="Google Shape;2637;p3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38" name="Google Shape;2638;p3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6">
    <p:spTree>
      <p:nvGrpSpPr>
        <p:cNvPr id="1" name="Shape 2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0" name="Google Shape;2640;p3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41" name="Google Shape;2641;p32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642" name="Google Shape;2642;p3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43" name="Google Shape;2643;p3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44" name="Google Shape;2644;p3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45" name="Google Shape;2645;p3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46" name="Google Shape;2646;p3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47" name="Google Shape;2647;p32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48" name="Google Shape;2648;p32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49" name="Google Shape;2649;p3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50" name="Google Shape;2650;p3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6">
    <p:spTree>
      <p:nvGrpSpPr>
        <p:cNvPr id="1" name="Shape 26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52" name="Google Shape;2652;p3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53" name="Google Shape;2653;p3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54" name="Google Shape;2654;p3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55" name="Google Shape;2655;p3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56" name="Google Shape;2656;p3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57" name="Google Shape;2657;p3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58" name="Google Shape;2658;p32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659" name="Google Shape;2659;p32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60" name="Google Shape;2660;p32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661" name="Google Shape;2661;p32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62" name="Google Shape;2662;p3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63" name="Google Shape;2663;p3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64" name="Google Shape;2664;p3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9" name="Google Shape;279;p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0" name="Google Shape;280;p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1" name="Google Shape;281;p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2" name="Google Shape;282;p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3" name="Google Shape;283;p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4" name="Google Shape;284;p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5" name="Google Shape;285;p8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6" name="Google Shape;286;p8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7" name="Google Shape;287;p8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8" name="Google Shape;288;p8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9" name="Google Shape;289;p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0" name="Google Shape;290;p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1" name="Google Shape;291;p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6">
    <p:spTree>
      <p:nvGrpSpPr>
        <p:cNvPr id="1" name="Shape 26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66" name="Google Shape;2666;p3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67" name="Google Shape;2667;p3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68" name="Google Shape;2668;p3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69" name="Google Shape;2669;p3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70" name="Google Shape;2670;p3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71" name="Google Shape;2671;p3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72" name="Google Shape;2672;p3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73" name="Google Shape;2673;p3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74" name="Google Shape;2674;p3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7">
    <p:spTree>
      <p:nvGrpSpPr>
        <p:cNvPr id="1" name="Shape 2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76" name="Google Shape;2676;p32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677" name="Google Shape;2677;p32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8" name="Google Shape;2678;p32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79" name="Google Shape;2679;p32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80" name="Google Shape;2680;p32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81" name="Google Shape;2681;p32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682" name="Google Shape;2682;p3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683" name="Google Shape;2683;p32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7">
    <p:spTree>
      <p:nvGrpSpPr>
        <p:cNvPr id="1" name="Shape 2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5" name="Google Shape;2685;p3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86" name="Google Shape;2686;p3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87" name="Google Shape;2687;p3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88" name="Google Shape;2688;p3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89" name="Google Shape;2689;p3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90" name="Google Shape;2690;p3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91" name="Google Shape;2691;p3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92" name="Google Shape;2692;p3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26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99" name="Google Shape;2699;p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00" name="Google Shape;2700;p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01" name="Google Shape;2701;p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02" name="Google Shape;2702;p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03" name="Google Shape;2703;p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04" name="Google Shape;2704;p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05" name="Google Shape;2705;p4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06" name="Google Shape;2706;p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07" name="Google Shape;2707;p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08" name="Google Shape;2708;p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2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0" name="Google Shape;2710;p47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11" name="Google Shape;2711;p47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12" name="Google Shape;2712;p47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713" name="Google Shape;2713;p47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714" name="Google Shape;2714;p47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715" name="Google Shape;2715;p47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6" name="Google Shape;2716;p47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717" name="Google Shape;2717;p4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27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19" name="Google Shape;2719;p47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720" name="Google Shape;2720;p47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1" name="Google Shape;2721;p47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2" name="Google Shape;2722;p47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723" name="Google Shape;2723;p4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724" name="Google Shape;2724;p47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25" name="Google Shape;2725;p47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27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7" name="Google Shape;2727;p47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728" name="Google Shape;2728;p47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729" name="Google Shape;2729;p47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730" name="Google Shape;2730;p47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1" name="Google Shape;2731;p47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732" name="Google Shape;2732;p47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733" name="Google Shape;2733;p4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27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5" name="Google Shape;2735;p4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36" name="Google Shape;2736;p4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37" name="Google Shape;2737;p4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38" name="Google Shape;2738;p4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39" name="Google Shape;2739;p4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40" name="Google Shape;2740;p4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41" name="Google Shape;2741;p4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42" name="Google Shape;2742;p4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43" name="Google Shape;2743;p4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44" name="Google Shape;2744;p4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45" name="Google Shape;2745;p4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746" name="Google Shape;2746;p4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27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8" name="Google Shape;2748;p4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49" name="Google Shape;2749;p48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750" name="Google Shape;2750;p4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51" name="Google Shape;2751;p4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52" name="Google Shape;2752;p4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53" name="Google Shape;2753;p4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54" name="Google Shape;2754;p4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55" name="Google Shape;2755;p48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6" name="Google Shape;2756;p48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57" name="Google Shape;2757;p4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58" name="Google Shape;2758;p4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27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60" name="Google Shape;2760;p4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61" name="Google Shape;2761;p4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62" name="Google Shape;2762;p4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63" name="Google Shape;2763;p4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64" name="Google Shape;2764;p4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65" name="Google Shape;2765;p4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66" name="Google Shape;2766;p48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767" name="Google Shape;2767;p48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68" name="Google Shape;2768;p48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769" name="Google Shape;2769;p48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70" name="Google Shape;2770;p4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71" name="Google Shape;2771;p4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72" name="Google Shape;2772;p4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3" name="Google Shape;293;p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4" name="Google Shape;294;p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5" name="Google Shape;295;p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6" name="Google Shape;296;p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8" name="Google Shape;298;p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9" name="Google Shape;299;p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0" name="Google Shape;300;p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1" name="Google Shape;301;p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7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74" name="Google Shape;2774;p4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75" name="Google Shape;2775;p4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76" name="Google Shape;2776;p4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77" name="Google Shape;2777;p4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78" name="Google Shape;2778;p4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79" name="Google Shape;2779;p4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80" name="Google Shape;2780;p4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81" name="Google Shape;2781;p4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82" name="Google Shape;2782;p4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7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84" name="Google Shape;2784;p48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785" name="Google Shape;2785;p48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6" name="Google Shape;2786;p48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787" name="Google Shape;2787;p48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88" name="Google Shape;2788;p48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89" name="Google Shape;2789;p48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790" name="Google Shape;2790;p4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791" name="Google Shape;2791;p48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7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3" name="Google Shape;2793;p4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94" name="Google Shape;2794;p4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95" name="Google Shape;2795;p4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96" name="Google Shape;2796;p4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97" name="Google Shape;2797;p4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98" name="Google Shape;2798;p4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99" name="Google Shape;2799;p4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0" name="Google Shape;2800;p4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ation">
  <p:cSld name="1_Quotation">
    <p:spTree>
      <p:nvGrpSpPr>
        <p:cNvPr id="1" name="Shape 28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2" name="Google Shape;2802;p48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03" name="Google Shape;2803;p48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04" name="Google Shape;2804;p48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05" name="Google Shape;2805;p4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06" name="Google Shape;2806;p4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07" name="Google Shape;2807;p4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808" name="Google Shape;2808;p4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09" name="Google Shape;2809;p4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10" name="Google Shape;2810;p4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11" name="Google Shape;2811;p4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2" name="Google Shape;2812;p4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13" name="Google Shape;2813;p48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ver">
  <p:cSld name="1_Cover">
    <p:spTree>
      <p:nvGrpSpPr>
        <p:cNvPr id="1" name="Shape 28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5" name="Google Shape;2815;p48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16" name="Google Shape;2816;p48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17" name="Google Shape;2817;p48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818" name="Google Shape;2818;p48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819" name="Google Shape;2819;p48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20" name="Google Shape;2820;p4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1" name="Google Shape;2821;p48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822" name="Google Shape;2822;p4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Divider">
  <p:cSld name="3_Divider">
    <p:bg>
      <p:bgPr>
        <a:solidFill>
          <a:schemeClr val="lt2"/>
        </a:solidFill>
        <a:effectLst/>
      </p:bgPr>
    </p:bg>
    <p:spTree>
      <p:nvGrpSpPr>
        <p:cNvPr id="1" name="Shape 28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24" name="Google Shape;2824;p48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825" name="Google Shape;2825;p48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6" name="Google Shape;2826;p4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7" name="Google Shape;2827;p48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828" name="Google Shape;2828;p4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829" name="Google Shape;2829;p48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0" name="Google Shape;2830;p48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Photo Slide">
  <p:cSld name="2_Photo Slide">
    <p:spTree>
      <p:nvGrpSpPr>
        <p:cNvPr id="1" name="Shape 2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2" name="Google Shape;2832;p48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833" name="Google Shape;2833;p48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834" name="Google Shape;2834;p48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835" name="Google Shape;2835;p48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6" name="Google Shape;2836;p48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837" name="Google Shape;2837;p48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838" name="Google Shape;2838;p4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28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0" name="Google Shape;2840;p4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41" name="Google Shape;2841;p4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42" name="Google Shape;2842;p4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43" name="Google Shape;2843;p4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44" name="Google Shape;2844;p4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45" name="Google Shape;2845;p4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846" name="Google Shape;2846;p4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47" name="Google Shape;2847;p4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48" name="Google Shape;2848;p4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49" name="Google Shape;2849;p4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0" name="Google Shape;2850;p4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51" name="Google Shape;2851;p4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28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3" name="Google Shape;2853;p4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54" name="Google Shape;2854;p4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55" name="Google Shape;2855;p4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56" name="Google Shape;2856;p4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57" name="Google Shape;2857;p4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58" name="Google Shape;2858;p4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859" name="Google Shape;2859;p4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60" name="Google Shape;2860;p4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61" name="Google Shape;2861;p4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62" name="Google Shape;2862;p4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63" name="Google Shape;2863;p4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64" name="Google Shape;2864;p49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Content">
  <p:cSld name="4_Title and Content">
    <p:spTree>
      <p:nvGrpSpPr>
        <p:cNvPr id="1" name="Shape 28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66" name="Google Shape;2866;p4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67" name="Google Shape;2867;p4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68" name="Google Shape;2868;p4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69" name="Google Shape;2869;p4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70" name="Google Shape;2870;p4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71" name="Google Shape;2871;p4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2" name="Google Shape;2872;p4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73" name="Google Shape;2873;p4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74" name="Google Shape;2874;p4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75" name="Google Shape;2875;p4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3" name="Google Shape;303;p8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04" name="Google Shape;304;p8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" name="Google Shape;305;p8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6" name="Google Shape;306;p8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7" name="Google Shape;307;p8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8" name="Google Shape;308;p8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09" name="Google Shape;309;p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10" name="Google Shape;310;p8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wo Content">
  <p:cSld name="2_Two Content">
    <p:spTree>
      <p:nvGrpSpPr>
        <p:cNvPr id="1" name="Shape 2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7" name="Google Shape;2877;p4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8" name="Google Shape;2878;p4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879" name="Google Shape;2879;p4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80" name="Google Shape;2880;p4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81" name="Google Shape;2881;p4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82" name="Google Shape;2882;p4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83" name="Google Shape;2883;p4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84" name="Google Shape;2884;p4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85" name="Google Shape;2885;p4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86" name="Google Shape;2886;p4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87" name="Google Shape;2887;p4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mparison">
  <p:cSld name="1_Comparison">
    <p:spTree>
      <p:nvGrpSpPr>
        <p:cNvPr id="1" name="Shape 28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89" name="Google Shape;2889;p4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90" name="Google Shape;2890;p4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91" name="Google Shape;2891;p4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92" name="Google Shape;2892;p4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93" name="Google Shape;2893;p4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94" name="Google Shape;2894;p4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95" name="Google Shape;2895;p4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96" name="Google Shape;2896;p4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97" name="Google Shape;2897;p4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98" name="Google Shape;2898;p4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99" name="Google Shape;2899;p4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00" name="Google Shape;2900;p4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01" name="Google Shape;2901;p4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Only">
  <p:cSld name="2_Title Only">
    <p:spTree>
      <p:nvGrpSpPr>
        <p:cNvPr id="1" name="Shape 29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03" name="Google Shape;2903;p4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04" name="Google Shape;2904;p4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05" name="Google Shape;2905;p4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06" name="Google Shape;2906;p4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07" name="Google Shape;2907;p4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08" name="Google Shape;2908;p4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09" name="Google Shape;2909;p4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10" name="Google Shape;2910;p4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11" name="Google Shape;2911;p4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End">
  <p:cSld name="1_End">
    <p:spTree>
      <p:nvGrpSpPr>
        <p:cNvPr id="1" name="Shape 29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13" name="Google Shape;2913;p4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914" name="Google Shape;2914;p4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5" name="Google Shape;2915;p4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916" name="Google Shape;2916;p4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17" name="Google Shape;2917;p4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18" name="Google Shape;2918;p4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919" name="Google Shape;2919;p4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920" name="Google Shape;2920;p4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>
  <p:cSld name="1_Blank">
    <p:spTree>
      <p:nvGrpSpPr>
        <p:cNvPr id="1" name="Shape 2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2" name="Google Shape;2922;p4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23" name="Google Shape;2923;p4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24" name="Google Shape;2924;p4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25" name="Google Shape;2925;p4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26" name="Google Shape;2926;p4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27" name="Google Shape;2927;p4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28" name="Google Shape;2928;p4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9" name="Google Shape;2929;p4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over">
  <p:cSld name="2_Cover">
    <p:spTree>
      <p:nvGrpSpPr>
        <p:cNvPr id="1" name="Shape 29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1" name="Google Shape;2931;p49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32" name="Google Shape;2932;p49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33" name="Google Shape;2933;p49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934" name="Google Shape;2934;p4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935" name="Google Shape;2935;p49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936" name="Google Shape;2936;p49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37" name="Google Shape;2937;p49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38" name="Google Shape;2938;p4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Divider">
  <p:cSld name="4_Divider">
    <p:bg>
      <p:bgPr>
        <a:solidFill>
          <a:schemeClr val="lt2"/>
        </a:solidFill>
        <a:effectLst/>
      </p:bgPr>
    </p:bg>
    <p:spTree>
      <p:nvGrpSpPr>
        <p:cNvPr id="1" name="Shape 29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40" name="Google Shape;2940;p49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941" name="Google Shape;2941;p49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2" name="Google Shape;2942;p4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3" name="Google Shape;2943;p49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44" name="Google Shape;2944;p4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945" name="Google Shape;2945;p49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46" name="Google Shape;2946;p49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29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8" name="Google Shape;2948;p49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49" name="Google Shape;2949;p49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50" name="Google Shape;2950;p49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51" name="Google Shape;2951;p4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52" name="Google Shape;2952;p4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53" name="Google Shape;2953;p4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54" name="Google Shape;2954;p4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55" name="Google Shape;2955;p4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56" name="Google Shape;2956;p4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57" name="Google Shape;2957;p4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58" name="Google Shape;2958;p4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959" name="Google Shape;2959;p49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and Content">
  <p:cSld name="5_Title and Content">
    <p:spTree>
      <p:nvGrpSpPr>
        <p:cNvPr id="1" name="Shape 29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61" name="Google Shape;2961;p5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62" name="Google Shape;2962;p5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63" name="Google Shape;2963;p5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64" name="Google Shape;2964;p5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5" name="Google Shape;2965;p5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66" name="Google Shape;2966;p5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67" name="Google Shape;2967;p50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68" name="Google Shape;2968;p5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69" name="Google Shape;2969;p5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70" name="Google Shape;2970;p5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wo Content">
  <p:cSld name="3_Two Content">
    <p:spTree>
      <p:nvGrpSpPr>
        <p:cNvPr id="1" name="Shape 29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2" name="Google Shape;2972;p50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73" name="Google Shape;2973;p50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974" name="Google Shape;2974;p5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75" name="Google Shape;2975;p5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76" name="Google Shape;2976;p5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77" name="Google Shape;2977;p5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8" name="Google Shape;2978;p5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79" name="Google Shape;2979;p50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80" name="Google Shape;2980;p50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81" name="Google Shape;2981;p5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82" name="Google Shape;2982;p5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oogle Shape;33;p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Google Shape;34;p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" name="Google Shape;35;p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Google Shape;36;p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" name="Google Shape;37;p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8" name="Google Shape;38;p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" name="Google Shape;41;p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" name="Google Shape;42;p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Google Shape;312;p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3" name="Google Shape;313;p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4" name="Google Shape;314;p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5" name="Google Shape;315;p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6" name="Google Shape;316;p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7" name="Google Shape;317;p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8" name="Google Shape;318;p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omparison">
  <p:cSld name="2_Comparison">
    <p:spTree>
      <p:nvGrpSpPr>
        <p:cNvPr id="1" name="Shape 2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84" name="Google Shape;2984;p5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85" name="Google Shape;2985;p5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86" name="Google Shape;2986;p5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87" name="Google Shape;2987;p5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8" name="Google Shape;2988;p5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89" name="Google Shape;2989;p5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90" name="Google Shape;2990;p50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991" name="Google Shape;2991;p50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92" name="Google Shape;2992;p50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993" name="Google Shape;2993;p50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94" name="Google Shape;2994;p5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95" name="Google Shape;2995;p5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96" name="Google Shape;2996;p5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Photo Slide">
  <p:cSld name="3_Photo Slide">
    <p:spTree>
      <p:nvGrpSpPr>
        <p:cNvPr id="1" name="Shape 2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8" name="Google Shape;2998;p50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999" name="Google Shape;2999;p50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000" name="Google Shape;3000;p50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001" name="Google Shape;3001;p50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02" name="Google Shape;3002;p50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03" name="Google Shape;3003;p50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004" name="Google Shape;3004;p5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End">
  <p:cSld name="2_End">
    <p:spTree>
      <p:nvGrpSpPr>
        <p:cNvPr id="1" name="Shape 3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06" name="Google Shape;3006;p50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007" name="Google Shape;3007;p50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08" name="Google Shape;3008;p50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09" name="Google Shape;3009;p50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10" name="Google Shape;3010;p50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11" name="Google Shape;3011;p50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012" name="Google Shape;3012;p5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013" name="Google Shape;3013;p50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30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5" name="Google Shape;3015;p5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16" name="Google Shape;3016;p5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17" name="Google Shape;3017;p5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018" name="Google Shape;3018;p5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19" name="Google Shape;3019;p5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20" name="Google Shape;3020;p5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21" name="Google Shape;3021;p5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2" name="Google Shape;3022;p5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Only">
  <p:cSld name="3_Title Only">
    <p:spTree>
      <p:nvGrpSpPr>
        <p:cNvPr id="1" name="Shape 30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24" name="Google Shape;3024;p5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25" name="Google Shape;3025;p5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26" name="Google Shape;3026;p5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27" name="Google Shape;3027;p5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8" name="Google Shape;3028;p5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029" name="Google Shape;3029;p5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30" name="Google Shape;3030;p5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31" name="Google Shape;3031;p5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32" name="Google Shape;3032;p5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ver">
  <p:cSld name="3_Cover">
    <p:spTree>
      <p:nvGrpSpPr>
        <p:cNvPr id="1" name="Shape 30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4" name="Google Shape;3034;p50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35" name="Google Shape;3035;p50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36" name="Google Shape;3036;p50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037" name="Google Shape;3037;p5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038" name="Google Shape;3038;p50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039" name="Google Shape;3039;p50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0" name="Google Shape;3040;p50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041" name="Google Shape;3041;p5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Divider">
  <p:cSld name="5_Divider">
    <p:bg>
      <p:bgPr>
        <a:solidFill>
          <a:schemeClr val="lt2"/>
        </a:solidFill>
        <a:effectLst/>
      </p:bgPr>
    </p:bg>
    <p:spTree>
      <p:nvGrpSpPr>
        <p:cNvPr id="1" name="Shape 30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43" name="Google Shape;3043;p50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044" name="Google Shape;3044;p50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5" name="Google Shape;3045;p50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6" name="Google Shape;3046;p50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047" name="Google Shape;3047;p5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048" name="Google Shape;3048;p50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49" name="Google Shape;3049;p50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Photo Slide">
  <p:cSld name="4_Photo Slide">
    <p:spTree>
      <p:nvGrpSpPr>
        <p:cNvPr id="1" name="Shape 30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1" name="Google Shape;3051;p50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052" name="Google Shape;3052;p50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053" name="Google Shape;3053;p50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054" name="Google Shape;3054;p50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5" name="Google Shape;3055;p50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56" name="Google Shape;3056;p50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057" name="Google Shape;3057;p5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Quotation">
  <p:cSld name="5_Quotation">
    <p:spTree>
      <p:nvGrpSpPr>
        <p:cNvPr id="1" name="Shape 3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9" name="Google Shape;3059;p51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60" name="Google Shape;3060;p51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61" name="Google Shape;3061;p51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62" name="Google Shape;3062;p5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63" name="Google Shape;3063;p5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64" name="Google Shape;3064;p5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065" name="Google Shape;3065;p5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66" name="Google Shape;3066;p5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67" name="Google Shape;3067;p5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68" name="Google Shape;3068;p5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9" name="Google Shape;3069;p5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070" name="Google Shape;3070;p51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Quotation">
  <p:cSld name="6_Quotation">
    <p:spTree>
      <p:nvGrpSpPr>
        <p:cNvPr id="1" name="Shape 30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" name="Google Shape;3072;p5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73" name="Google Shape;3073;p5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74" name="Google Shape;3074;p5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75" name="Google Shape;3075;p5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76" name="Google Shape;3076;p5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77" name="Google Shape;3077;p5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078" name="Google Shape;3078;p5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79" name="Google Shape;3079;p5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80" name="Google Shape;3080;p5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81" name="Google Shape;3081;p5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2" name="Google Shape;3082;p5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083" name="Google Shape;3083;p51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Google Shape;321;p8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2" name="Google Shape;322;p8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3" name="Google Shape;323;p8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4" name="Google Shape;324;p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5" name="Google Shape;325;p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6" name="Google Shape;326;p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7" name="Google Shape;327;p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8" name="Google Shape;328;p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9" name="Google Shape;329;p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0" name="Google Shape;330;p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1" name="Google Shape;331;p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32" name="Google Shape;332;p8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spTree>
      <p:nvGrpSpPr>
        <p:cNvPr id="1" name="Shape 30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85" name="Google Shape;3085;p5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86" name="Google Shape;3086;p5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87" name="Google Shape;3087;p5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88" name="Google Shape;3088;p5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9" name="Google Shape;3089;p5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090" name="Google Shape;3090;p5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91" name="Google Shape;3091;p5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92" name="Google Shape;3092;p5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93" name="Google Shape;3093;p5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94" name="Google Shape;3094;p5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wo Content">
  <p:cSld name="4_Two Content">
    <p:spTree>
      <p:nvGrpSpPr>
        <p:cNvPr id="1" name="Shape 30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6" name="Google Shape;3096;p5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97" name="Google Shape;3097;p5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098" name="Google Shape;3098;p5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99" name="Google Shape;3099;p5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00" name="Google Shape;3100;p5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01" name="Google Shape;3101;p5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2" name="Google Shape;3102;p5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03" name="Google Shape;3103;p51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04" name="Google Shape;3104;p51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05" name="Google Shape;3105;p5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06" name="Google Shape;3106;p5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mparison">
  <p:cSld name="3_Comparison">
    <p:spTree>
      <p:nvGrpSpPr>
        <p:cNvPr id="1" name="Shape 3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08" name="Google Shape;3108;p5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09" name="Google Shape;3109;p5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10" name="Google Shape;3110;p5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11" name="Google Shape;3111;p5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2" name="Google Shape;3112;p5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13" name="Google Shape;3113;p5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14" name="Google Shape;3114;p51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115" name="Google Shape;3115;p51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16" name="Google Shape;3116;p51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117" name="Google Shape;3117;p51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18" name="Google Shape;3118;p5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19" name="Google Shape;3119;p5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20" name="Google Shape;3120;p5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Only">
  <p:cSld name="4_Title Only">
    <p:spTree>
      <p:nvGrpSpPr>
        <p:cNvPr id="1" name="Shape 3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22" name="Google Shape;3122;p5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23" name="Google Shape;3123;p5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24" name="Google Shape;3124;p5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25" name="Google Shape;3125;p5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6" name="Google Shape;3126;p5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27" name="Google Shape;3127;p5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28" name="Google Shape;3128;p5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29" name="Google Shape;3129;p5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30" name="Google Shape;3130;p5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End">
  <p:cSld name="3_End">
    <p:spTree>
      <p:nvGrpSpPr>
        <p:cNvPr id="1" name="Shape 3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32" name="Google Shape;3132;p51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133" name="Google Shape;3133;p51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34" name="Google Shape;3134;p51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135" name="Google Shape;3135;p51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36" name="Google Shape;3136;p51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37" name="Google Shape;3137;p51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138" name="Google Shape;3138;p5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139" name="Google Shape;3139;p51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Blank">
  <p:cSld name="3_Blank">
    <p:spTree>
      <p:nvGrpSpPr>
        <p:cNvPr id="1" name="Shape 3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1" name="Google Shape;3141;p5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42" name="Google Shape;3142;p5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43" name="Google Shape;3143;p5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44" name="Google Shape;3144;p5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45" name="Google Shape;3145;p5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46" name="Google Shape;3146;p5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47" name="Google Shape;3147;p5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8" name="Google Shape;3148;p5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3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0" name="Google Shape;3150;p518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51" name="Google Shape;3151;p518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3152" name="Google Shape;3152;p518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153" name="Google Shape;3153;p518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54" name="Google Shape;3154;p518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3155" name="Google Shape;3155;p5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Divider">
  <p:cSld name="6_Divider">
    <p:bg>
      <p:bgPr>
        <a:solidFill>
          <a:schemeClr val="lt2"/>
        </a:solidFill>
        <a:effectLst/>
      </p:bgPr>
    </p:bg>
    <p:spTree>
      <p:nvGrpSpPr>
        <p:cNvPr id="1" name="Shape 3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57" name="Google Shape;3157;p51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158" name="Google Shape;3158;p51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59" name="Google Shape;3159;p51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60" name="Google Shape;3160;p51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161" name="Google Shape;3161;p5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162" name="Google Shape;3162;p51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63" name="Google Shape;3163;p51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Photo Slide">
  <p:cSld name="5_Photo Slide">
    <p:spTree>
      <p:nvGrpSpPr>
        <p:cNvPr id="1" name="Shape 3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5" name="Google Shape;3165;p52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166" name="Google Shape;3166;p52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167" name="Google Shape;3167;p52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168" name="Google Shape;3168;p52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69" name="Google Shape;3169;p52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170" name="Google Shape;3170;p52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171" name="Google Shape;3171;p5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ver">
  <p:cSld name="4_Cover">
    <p:spTree>
      <p:nvGrpSpPr>
        <p:cNvPr id="1" name="Shape 3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3" name="Google Shape;3173;p52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74" name="Google Shape;3174;p52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75" name="Google Shape;3175;p52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176" name="Google Shape;3176;p52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177" name="Google Shape;3177;p52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178" name="Google Shape;3178;p52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79" name="Google Shape;3179;p52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180" name="Google Shape;3180;p5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Google Shape;334;p8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5" name="Google Shape;335;p8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6" name="Google Shape;336;p8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7" name="Google Shape;337;p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8" name="Google Shape;338;p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9" name="Google Shape;339;p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40" name="Google Shape;340;p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1" name="Google Shape;341;p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2" name="Google Shape;342;p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3" name="Google Shape;343;p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4" name="Google Shape;344;p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45" name="Google Shape;345;p8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and Content">
  <p:cSld name="7_Title and Content">
    <p:spTree>
      <p:nvGrpSpPr>
        <p:cNvPr id="1" name="Shape 3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82" name="Google Shape;3182;p5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83" name="Google Shape;3183;p5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84" name="Google Shape;3184;p5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85" name="Google Shape;3185;p5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6" name="Google Shape;3186;p5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87" name="Google Shape;3187;p5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88" name="Google Shape;3188;p5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89" name="Google Shape;3189;p5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90" name="Google Shape;3190;p5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91" name="Google Shape;3191;p5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wo Content">
  <p:cSld name="5_Two Content">
    <p:spTree>
      <p:nvGrpSpPr>
        <p:cNvPr id="1" name="Shape 3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3" name="Google Shape;3193;p5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94" name="Google Shape;3194;p52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195" name="Google Shape;3195;p5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96" name="Google Shape;3196;p5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97" name="Google Shape;3197;p5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98" name="Google Shape;3198;p5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9" name="Google Shape;3199;p5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00" name="Google Shape;3200;p52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01" name="Google Shape;3201;p52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02" name="Google Shape;3202;p5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03" name="Google Shape;3203;p5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mparison">
  <p:cSld name="4_Comparison">
    <p:spTree>
      <p:nvGrpSpPr>
        <p:cNvPr id="1" name="Shape 3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05" name="Google Shape;3205;p5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06" name="Google Shape;3206;p5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07" name="Google Shape;3207;p5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08" name="Google Shape;3208;p5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9" name="Google Shape;3209;p5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10" name="Google Shape;3210;p5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11" name="Google Shape;3211;p52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212" name="Google Shape;3212;p52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13" name="Google Shape;3213;p52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214" name="Google Shape;3214;p52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15" name="Google Shape;3215;p5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16" name="Google Shape;3216;p5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17" name="Google Shape;3217;p5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Quotation">
  <p:cSld name="7_Quotation">
    <p:spTree>
      <p:nvGrpSpPr>
        <p:cNvPr id="1" name="Shape 3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9" name="Google Shape;3219;p52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20" name="Google Shape;3220;p52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21" name="Google Shape;3221;p52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22" name="Google Shape;3222;p5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23" name="Google Shape;3223;p5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24" name="Google Shape;3224;p5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25" name="Google Shape;3225;p5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26" name="Google Shape;3226;p5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27" name="Google Shape;3227;p5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28" name="Google Shape;3228;p5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9" name="Google Shape;3229;p5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230" name="Google Shape;3230;p52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End">
  <p:cSld name="4_End">
    <p:spTree>
      <p:nvGrpSpPr>
        <p:cNvPr id="1" name="Shape 3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32" name="Google Shape;3232;p52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233" name="Google Shape;3233;p52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4" name="Google Shape;3234;p52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235" name="Google Shape;3235;p52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36" name="Google Shape;3236;p52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37" name="Google Shape;3237;p52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238" name="Google Shape;3238;p5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239" name="Google Shape;3239;p52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Only">
  <p:cSld name="5_Title Only">
    <p:spTree>
      <p:nvGrpSpPr>
        <p:cNvPr id="1" name="Shape 3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41" name="Google Shape;3241;p5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42" name="Google Shape;3242;p5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43" name="Google Shape;3243;p5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44" name="Google Shape;3244;p5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5" name="Google Shape;3245;p5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46" name="Google Shape;3246;p5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47" name="Google Shape;3247;p5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48" name="Google Shape;3248;p5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49" name="Google Shape;3249;p5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Blank">
  <p:cSld name="4_Blank">
    <p:spTree>
      <p:nvGrpSpPr>
        <p:cNvPr id="1" name="Shape 3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1" name="Google Shape;3251;p5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52" name="Google Shape;3252;p5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53" name="Google Shape;3253;p5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54" name="Google Shape;3254;p5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55" name="Google Shape;3255;p5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56" name="Google Shape;3256;p5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57" name="Google Shape;3257;p5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8" name="Google Shape;3258;p5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Quotation">
  <p:cSld name="9_Quotation">
    <p:spTree>
      <p:nvGrpSpPr>
        <p:cNvPr id="1" name="Shape 3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0" name="Google Shape;3260;p52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61" name="Google Shape;3261;p52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62" name="Google Shape;3262;p52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63" name="Google Shape;3263;p5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64" name="Google Shape;3264;p5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65" name="Google Shape;3265;p5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66" name="Google Shape;3266;p5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67" name="Google Shape;3267;p5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68" name="Google Shape;3268;p5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69" name="Google Shape;3269;p5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0" name="Google Shape;3270;p5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271" name="Google Shape;3271;p52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Quotation">
  <p:cSld name="10_Quotation">
    <p:spTree>
      <p:nvGrpSpPr>
        <p:cNvPr id="1" name="Shape 3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3" name="Google Shape;3273;p53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74" name="Google Shape;3274;p53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75" name="Google Shape;3275;p53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76" name="Google Shape;3276;p5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77" name="Google Shape;3277;p5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78" name="Google Shape;3278;p5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79" name="Google Shape;3279;p5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80" name="Google Shape;3280;p5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81" name="Google Shape;3281;p5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82" name="Google Shape;3282;p5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3" name="Google Shape;3283;p5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284" name="Google Shape;3284;p53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over">
  <p:cSld name="6_Cover">
    <p:spTree>
      <p:nvGrpSpPr>
        <p:cNvPr id="1" name="Shape 3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6" name="Google Shape;3286;p53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87" name="Google Shape;3287;p53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88" name="Google Shape;3288;p53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289" name="Google Shape;3289;p53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290" name="Google Shape;3290;p53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291" name="Google Shape;3291;p53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2" name="Google Shape;3292;p53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293" name="Google Shape;3293;p5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Google Shape;347;p8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8" name="Google Shape;348;p8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9" name="Google Shape;349;p8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50" name="Google Shape;350;p8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51" name="Google Shape;351;p8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52" name="Google Shape;352;p8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353;p8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54" name="Google Shape;354;p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Divider">
  <p:cSld name="8_Divider">
    <p:bg>
      <p:bgPr>
        <a:solidFill>
          <a:schemeClr val="lt2"/>
        </a:solidFill>
        <a:effectLst/>
      </p:bgPr>
    </p:bg>
    <p:spTree>
      <p:nvGrpSpPr>
        <p:cNvPr id="1" name="Shape 3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95" name="Google Shape;3295;p53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296" name="Google Shape;3296;p53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7" name="Google Shape;3297;p53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8" name="Google Shape;3298;p53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299" name="Google Shape;3299;p5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300" name="Google Shape;3300;p53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01" name="Google Shape;3301;p53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Photo Slide">
  <p:cSld name="7_Photo Slide">
    <p:spTree>
      <p:nvGrpSpPr>
        <p:cNvPr id="1" name="Shape 3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3" name="Google Shape;3303;p53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304" name="Google Shape;3304;p53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305" name="Google Shape;3305;p53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306" name="Google Shape;3306;p53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7" name="Google Shape;3307;p53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308" name="Google Shape;3308;p53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309" name="Google Shape;3309;p5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Quotation">
  <p:cSld name="11_Quotation">
    <p:spTree>
      <p:nvGrpSpPr>
        <p:cNvPr id="1" name="Shape 3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1" name="Google Shape;3311;p53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12" name="Google Shape;3312;p53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13" name="Google Shape;3313;p53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14" name="Google Shape;3314;p5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15" name="Google Shape;3315;p5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16" name="Google Shape;3316;p5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317" name="Google Shape;3317;p5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18" name="Google Shape;3318;p5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19" name="Google Shape;3319;p5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20" name="Google Shape;3320;p5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21" name="Google Shape;3321;p5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322" name="Google Shape;3322;p53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Content">
  <p:cSld name="9_Title and Content">
    <p:spTree>
      <p:nvGrpSpPr>
        <p:cNvPr id="1" name="Shape 3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24" name="Google Shape;3324;p5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25" name="Google Shape;3325;p5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26" name="Google Shape;3326;p5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27" name="Google Shape;3327;p5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28" name="Google Shape;3328;p5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29" name="Google Shape;3329;p5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30" name="Google Shape;3330;p53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31" name="Google Shape;3331;p5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32" name="Google Shape;3332;p5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33" name="Google Shape;3333;p5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wo Content">
  <p:cSld name="7_Two Content">
    <p:spTree>
      <p:nvGrpSpPr>
        <p:cNvPr id="1" name="Shape 3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5" name="Google Shape;3335;p5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36" name="Google Shape;3336;p53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337" name="Google Shape;3337;p5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38" name="Google Shape;3338;p5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39" name="Google Shape;3339;p5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40" name="Google Shape;3340;p5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41" name="Google Shape;3341;p5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42" name="Google Shape;3342;p53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43" name="Google Shape;3343;p53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44" name="Google Shape;3344;p5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45" name="Google Shape;3345;p5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omparison">
  <p:cSld name="6_Comparison">
    <p:spTree>
      <p:nvGrpSpPr>
        <p:cNvPr id="1" name="Shape 3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47" name="Google Shape;3347;p5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48" name="Google Shape;3348;p5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49" name="Google Shape;3349;p5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50" name="Google Shape;3350;p5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51" name="Google Shape;3351;p5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52" name="Google Shape;3352;p5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53" name="Google Shape;3353;p53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354" name="Google Shape;3354;p53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55" name="Google Shape;3355;p53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356" name="Google Shape;3356;p53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57" name="Google Shape;3357;p5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58" name="Google Shape;3358;p5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59" name="Google Shape;3359;p5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Only">
  <p:cSld name="7_Title Only">
    <p:spTree>
      <p:nvGrpSpPr>
        <p:cNvPr id="1" name="Shape 3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61" name="Google Shape;3361;p5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62" name="Google Shape;3362;p5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63" name="Google Shape;3363;p5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64" name="Google Shape;3364;p5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65" name="Google Shape;3365;p5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66" name="Google Shape;3366;p5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67" name="Google Shape;3367;p5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68" name="Google Shape;3368;p5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69" name="Google Shape;3369;p5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End">
  <p:cSld name="6_End">
    <p:spTree>
      <p:nvGrpSpPr>
        <p:cNvPr id="1" name="Shape 3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71" name="Google Shape;3371;p53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372" name="Google Shape;3372;p53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73" name="Google Shape;3373;p53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374" name="Google Shape;3374;p53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75" name="Google Shape;3375;p53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76" name="Google Shape;3376;p53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377" name="Google Shape;3377;p5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378" name="Google Shape;3378;p53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Blank">
  <p:cSld name="5_Blank">
    <p:spTree>
      <p:nvGrpSpPr>
        <p:cNvPr id="1" name="Shape 3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0" name="Google Shape;3380;p5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81" name="Google Shape;3381;p5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82" name="Google Shape;3382;p5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383" name="Google Shape;3383;p5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84" name="Google Shape;3384;p5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85" name="Google Shape;3385;p5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86" name="Google Shape;3386;p5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87" name="Google Shape;3387;p5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over">
  <p:cSld name="7_Cover">
    <p:spTree>
      <p:nvGrpSpPr>
        <p:cNvPr id="1" name="Shape 3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9" name="Google Shape;3389;p54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90" name="Google Shape;3390;p54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91" name="Google Shape;3391;p54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392" name="Google Shape;3392;p54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393" name="Google Shape;3393;p54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394" name="Google Shape;3394;p54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5" name="Google Shape;3395;p54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396" name="Google Shape;3396;p5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bg>
      <p:bgPr>
        <a:solidFill>
          <a:schemeClr val="lt2"/>
        </a:solidFill>
        <a:effectLst/>
      </p:bgPr>
    </p:bg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6" name="Google Shape;356;p8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57" name="Google Shape;357;p8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8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8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60" name="Google Shape;360;p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61" name="Google Shape;361;p8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2" name="Google Shape;362;p8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Divider">
  <p:cSld name="9_Divider">
    <p:bg>
      <p:bgPr>
        <a:solidFill>
          <a:schemeClr val="lt2"/>
        </a:solidFill>
        <a:effectLst/>
      </p:bgPr>
    </p:bg>
    <p:spTree>
      <p:nvGrpSpPr>
        <p:cNvPr id="1" name="Shape 3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98" name="Google Shape;3398;p54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399" name="Google Shape;3399;p54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0" name="Google Shape;3400;p54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1" name="Google Shape;3401;p54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402" name="Google Shape;3402;p5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403" name="Google Shape;3403;p54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04" name="Google Shape;3404;p54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Photo Slide">
  <p:cSld name="8_Photo Slide">
    <p:spTree>
      <p:nvGrpSpPr>
        <p:cNvPr id="1" name="Shape 3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6" name="Google Shape;3406;p54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407" name="Google Shape;3407;p54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408" name="Google Shape;3408;p54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409" name="Google Shape;3409;p54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0" name="Google Shape;3410;p54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411" name="Google Shape;3411;p54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412" name="Google Shape;3412;p5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Quotation">
  <p:cSld name="12_Quotation">
    <p:spTree>
      <p:nvGrpSpPr>
        <p:cNvPr id="1" name="Shape 3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4" name="Google Shape;3414;p5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15" name="Google Shape;3415;p5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16" name="Google Shape;3416;p5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17" name="Google Shape;3417;p5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18" name="Google Shape;3418;p5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19" name="Google Shape;3419;p5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420" name="Google Shape;3420;p5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21" name="Google Shape;3421;p5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22" name="Google Shape;3422;p5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23" name="Google Shape;3423;p5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24" name="Google Shape;3424;p5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425" name="Google Shape;3425;p54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Content">
  <p:cSld name="10_Title and Content">
    <p:spTree>
      <p:nvGrpSpPr>
        <p:cNvPr id="1" name="Shape 3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27" name="Google Shape;3427;p5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28" name="Google Shape;3428;p5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29" name="Google Shape;3429;p5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30" name="Google Shape;3430;p5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31" name="Google Shape;3431;p5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432" name="Google Shape;3432;p5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33" name="Google Shape;3433;p5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34" name="Google Shape;3434;p5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35" name="Google Shape;3435;p5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36" name="Google Shape;3436;p5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wo Content">
  <p:cSld name="8_Two Content">
    <p:spTree>
      <p:nvGrpSpPr>
        <p:cNvPr id="1" name="Shape 3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8" name="Google Shape;3438;p5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39" name="Google Shape;3439;p54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440" name="Google Shape;3440;p5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41" name="Google Shape;3441;p5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42" name="Google Shape;3442;p5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43" name="Google Shape;3443;p5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44" name="Google Shape;3444;p5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445" name="Google Shape;3445;p54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46" name="Google Shape;3446;p54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47" name="Google Shape;3447;p5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48" name="Google Shape;3448;p5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omparison">
  <p:cSld name="7_Comparison">
    <p:spTree>
      <p:nvGrpSpPr>
        <p:cNvPr id="1" name="Shape 3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50" name="Google Shape;3450;p5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51" name="Google Shape;3451;p5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52" name="Google Shape;3452;p5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53" name="Google Shape;3453;p5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54" name="Google Shape;3454;p5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455" name="Google Shape;3455;p5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56" name="Google Shape;3456;p54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457" name="Google Shape;3457;p54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58" name="Google Shape;3458;p54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459" name="Google Shape;3459;p54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60" name="Google Shape;3460;p5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61" name="Google Shape;3461;p5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62" name="Google Shape;3462;p5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Only">
  <p:cSld name="8_Title Only">
    <p:spTree>
      <p:nvGrpSpPr>
        <p:cNvPr id="1" name="Shape 34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64" name="Google Shape;3464;p5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65" name="Google Shape;3465;p5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66" name="Google Shape;3466;p5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67" name="Google Shape;3467;p5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68" name="Google Shape;3468;p5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469" name="Google Shape;3469;p5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70" name="Google Shape;3470;p5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71" name="Google Shape;3471;p5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72" name="Google Shape;3472;p5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End">
  <p:cSld name="7_End">
    <p:spTree>
      <p:nvGrpSpPr>
        <p:cNvPr id="1" name="Shape 34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74" name="Google Shape;3474;p54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475" name="Google Shape;3475;p54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76" name="Google Shape;3476;p54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477" name="Google Shape;3477;p54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78" name="Google Shape;3478;p54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79" name="Google Shape;3479;p54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480" name="Google Shape;3480;p5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481" name="Google Shape;3481;p54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Blank">
  <p:cSld name="6_Blank">
    <p:spTree>
      <p:nvGrpSpPr>
        <p:cNvPr id="1" name="Shape 34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3" name="Google Shape;3483;p5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84" name="Google Shape;3484;p5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85" name="Google Shape;3485;p5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486" name="Google Shape;3486;p5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87" name="Google Shape;3487;p5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88" name="Google Shape;3488;p5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89" name="Google Shape;3489;p5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90" name="Google Shape;3490;p5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Quotation">
  <p:cSld name="13_Quotation">
    <p:spTree>
      <p:nvGrpSpPr>
        <p:cNvPr id="1" name="Shape 34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92" name="Google Shape;3492;p55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93" name="Google Shape;3493;p55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94" name="Google Shape;3494;p55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95" name="Google Shape;3495;p5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96" name="Google Shape;3496;p5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97" name="Google Shape;3497;p5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498" name="Google Shape;3498;p5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99" name="Google Shape;3499;p5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00" name="Google Shape;3500;p5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01" name="Google Shape;3501;p5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02" name="Google Shape;3502;p5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503" name="Google Shape;3503;p55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9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65" name="Google Shape;365;p9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66" name="Google Shape;366;p9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67" name="Google Shape;367;p9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368;p9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9" name="Google Shape;369;p9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70" name="Google Shape;370;p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over">
  <p:cSld name="8_Cover">
    <p:spTree>
      <p:nvGrpSpPr>
        <p:cNvPr id="1" name="Shape 35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5" name="Google Shape;3505;p55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06" name="Google Shape;3506;p55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07" name="Google Shape;3507;p55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508" name="Google Shape;3508;p5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509" name="Google Shape;3509;p55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510" name="Google Shape;3510;p55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1" name="Google Shape;3511;p55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512" name="Google Shape;3512;p5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Divider">
  <p:cSld name="10_Divider">
    <p:bg>
      <p:bgPr>
        <a:solidFill>
          <a:schemeClr val="lt2"/>
        </a:solidFill>
        <a:effectLst/>
      </p:bgPr>
    </p:bg>
    <p:spTree>
      <p:nvGrpSpPr>
        <p:cNvPr id="1" name="Shape 35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14" name="Google Shape;3514;p55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515" name="Google Shape;3515;p55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6" name="Google Shape;3516;p55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7" name="Google Shape;3517;p55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518" name="Google Shape;3518;p5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519" name="Google Shape;3519;p55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20" name="Google Shape;3520;p55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Photo Slide">
  <p:cSld name="9_Photo Slide">
    <p:spTree>
      <p:nvGrpSpPr>
        <p:cNvPr id="1" name="Shape 35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2" name="Google Shape;3522;p55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523" name="Google Shape;3523;p55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524" name="Google Shape;3524;p55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525" name="Google Shape;3525;p55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6" name="Google Shape;3526;p55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527" name="Google Shape;3527;p55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528" name="Google Shape;3528;p5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Quotation">
  <p:cSld name="14_Quotation">
    <p:spTree>
      <p:nvGrpSpPr>
        <p:cNvPr id="1" name="Shape 3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30" name="Google Shape;3530;p5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31" name="Google Shape;3531;p5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32" name="Google Shape;3532;p5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33" name="Google Shape;3533;p5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34" name="Google Shape;3534;p5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35" name="Google Shape;3535;p5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536" name="Google Shape;3536;p5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37" name="Google Shape;3537;p5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38" name="Google Shape;3538;p5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39" name="Google Shape;3539;p5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40" name="Google Shape;3540;p5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541" name="Google Shape;3541;p55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Content">
  <p:cSld name="11_Title and Content">
    <p:spTree>
      <p:nvGrpSpPr>
        <p:cNvPr id="1" name="Shape 3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43" name="Google Shape;3543;p5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44" name="Google Shape;3544;p5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45" name="Google Shape;3545;p5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46" name="Google Shape;3546;p5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47" name="Google Shape;3547;p5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48" name="Google Shape;3548;p5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49" name="Google Shape;3549;p55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50" name="Google Shape;3550;p5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51" name="Google Shape;3551;p5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52" name="Google Shape;3552;p5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wo Content">
  <p:cSld name="9_Two Content">
    <p:spTree>
      <p:nvGrpSpPr>
        <p:cNvPr id="1" name="Shape 35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4" name="Google Shape;3554;p5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55" name="Google Shape;3555;p55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556" name="Google Shape;3556;p5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57" name="Google Shape;3557;p5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58" name="Google Shape;3558;p5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59" name="Google Shape;3559;p5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60" name="Google Shape;3560;p5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61" name="Google Shape;3561;p55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62" name="Google Shape;3562;p55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63" name="Google Shape;3563;p5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64" name="Google Shape;3564;p5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omparison">
  <p:cSld name="8_Comparison">
    <p:spTree>
      <p:nvGrpSpPr>
        <p:cNvPr id="1" name="Shape 3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66" name="Google Shape;3566;p5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67" name="Google Shape;3567;p5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68" name="Google Shape;3568;p5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69" name="Google Shape;3569;p5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70" name="Google Shape;3570;p5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71" name="Google Shape;3571;p5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72" name="Google Shape;3572;p55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573" name="Google Shape;3573;p55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74" name="Google Shape;3574;p55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575" name="Google Shape;3575;p55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76" name="Google Shape;3576;p5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77" name="Google Shape;3577;p5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78" name="Google Shape;3578;p5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Only">
  <p:cSld name="9_Title Only">
    <p:spTree>
      <p:nvGrpSpPr>
        <p:cNvPr id="1" name="Shape 35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80" name="Google Shape;3580;p5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81" name="Google Shape;3581;p5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82" name="Google Shape;3582;p5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83" name="Google Shape;3583;p5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84" name="Google Shape;3584;p5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85" name="Google Shape;3585;p5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86" name="Google Shape;3586;p5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87" name="Google Shape;3587;p5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88" name="Google Shape;3588;p5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End">
  <p:cSld name="8_End">
    <p:spTree>
      <p:nvGrpSpPr>
        <p:cNvPr id="1" name="Shape 3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90" name="Google Shape;3590;p56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591" name="Google Shape;3591;p56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2" name="Google Shape;3592;p56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593" name="Google Shape;3593;p56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94" name="Google Shape;3594;p56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95" name="Google Shape;3595;p56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596" name="Google Shape;3596;p5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597" name="Google Shape;3597;p5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Blank">
  <p:cSld name="8_Blank">
    <p:spTree>
      <p:nvGrpSpPr>
        <p:cNvPr id="1" name="Shape 35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9" name="Google Shape;3599;p5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00" name="Google Shape;3600;p5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01" name="Google Shape;3601;p5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602" name="Google Shape;3602;p5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03" name="Google Shape;3603;p5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04" name="Google Shape;3604;p5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05" name="Google Shape;3605;p5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06" name="Google Shape;3606;p5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3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" name="Google Shape;372;p9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3" name="Google Shape;373;p9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4" name="Google Shape;374;p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5" name="Google Shape;375;p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6" name="Google Shape;376;p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7" name="Google Shape;377;p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8" name="Google Shape;378;p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9" name="Google Shape;379;p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0" name="Google Shape;380;p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81" name="Google Shape;381;p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2" name="Google Shape;382;p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83" name="Google Shape;383;p9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Quotation">
  <p:cSld name="15_Quotation">
    <p:spTree>
      <p:nvGrpSpPr>
        <p:cNvPr id="1" name="Shape 36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8" name="Google Shape;3608;p56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09" name="Google Shape;3609;p56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10" name="Google Shape;3610;p5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11" name="Google Shape;3611;p5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12" name="Google Shape;3612;p5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13" name="Google Shape;3613;p5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614" name="Google Shape;3614;p5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15" name="Google Shape;3615;p5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16" name="Google Shape;3616;p5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17" name="Google Shape;3617;p5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18" name="Google Shape;3618;p5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619" name="Google Shape;3619;p56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over">
  <p:cSld name="9_Cover">
    <p:spTree>
      <p:nvGrpSpPr>
        <p:cNvPr id="1" name="Shape 3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1" name="Google Shape;3621;p56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22" name="Google Shape;3622;p56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23" name="Google Shape;3623;p56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624" name="Google Shape;3624;p56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625" name="Google Shape;3625;p56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626" name="Google Shape;3626;p56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7" name="Google Shape;3627;p56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628" name="Google Shape;3628;p5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Divider">
  <p:cSld name="11_Divider">
    <p:bg>
      <p:bgPr>
        <a:solidFill>
          <a:schemeClr val="lt2"/>
        </a:solidFill>
        <a:effectLst/>
      </p:bgPr>
    </p:bg>
    <p:spTree>
      <p:nvGrpSpPr>
        <p:cNvPr id="1" name="Shape 3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30" name="Google Shape;3630;p56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631" name="Google Shape;3631;p56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2" name="Google Shape;3632;p56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3" name="Google Shape;3633;p56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634" name="Google Shape;3634;p5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635" name="Google Shape;3635;p56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36" name="Google Shape;3636;p56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Photo Slide">
  <p:cSld name="10_Photo Slide">
    <p:spTree>
      <p:nvGrpSpPr>
        <p:cNvPr id="1" name="Shape 3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38" name="Google Shape;3638;p56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639" name="Google Shape;3639;p56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640" name="Google Shape;3640;p56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641" name="Google Shape;3641;p56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2" name="Google Shape;3642;p56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43" name="Google Shape;3643;p56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644" name="Google Shape;3644;p5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Quotation">
  <p:cSld name="16_Quotation">
    <p:spTree>
      <p:nvGrpSpPr>
        <p:cNvPr id="1" name="Shape 3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6" name="Google Shape;3646;p5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47" name="Google Shape;3647;p5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48" name="Google Shape;3648;p5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49" name="Google Shape;3649;p5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50" name="Google Shape;3650;p5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51" name="Google Shape;3651;p5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652" name="Google Shape;3652;p5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53" name="Google Shape;3653;p5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54" name="Google Shape;3654;p5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55" name="Google Shape;3655;p5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56" name="Google Shape;3656;p5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657" name="Google Shape;3657;p56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Quotation">
  <p:cSld name="17_Quotation">
    <p:spTree>
      <p:nvGrpSpPr>
        <p:cNvPr id="1" name="Shape 3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9" name="Google Shape;3659;p56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60" name="Google Shape;3660;p56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61" name="Google Shape;3661;p56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62" name="Google Shape;3662;p5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63" name="Google Shape;3663;p5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64" name="Google Shape;3664;p5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665" name="Google Shape;3665;p5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66" name="Google Shape;3666;p5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67" name="Google Shape;3667;p5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68" name="Google Shape;3668;p5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69" name="Google Shape;3669;p5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670" name="Google Shape;3670;p56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and Content">
  <p:cSld name="12_Title and Content">
    <p:spTree>
      <p:nvGrpSpPr>
        <p:cNvPr id="1" name="Shape 36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72" name="Google Shape;3672;p5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73" name="Google Shape;3673;p5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74" name="Google Shape;3674;p5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75" name="Google Shape;3675;p5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76" name="Google Shape;3676;p5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677" name="Google Shape;3677;p56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78" name="Google Shape;3678;p56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79" name="Google Shape;3679;p5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80" name="Google Shape;3680;p5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81" name="Google Shape;3681;p5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wo Content">
  <p:cSld name="10_Two Content">
    <p:spTree>
      <p:nvGrpSpPr>
        <p:cNvPr id="1" name="Shape 36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3" name="Google Shape;3683;p56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84" name="Google Shape;3684;p56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685" name="Google Shape;3685;p5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86" name="Google Shape;3686;p5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87" name="Google Shape;3687;p5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88" name="Google Shape;3688;p5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89" name="Google Shape;3689;p5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690" name="Google Shape;3690;p56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91" name="Google Shape;3691;p56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92" name="Google Shape;3692;p5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93" name="Google Shape;3693;p5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omparison">
  <p:cSld name="9_Comparison">
    <p:spTree>
      <p:nvGrpSpPr>
        <p:cNvPr id="1" name="Shape 3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95" name="Google Shape;3695;p5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96" name="Google Shape;3696;p5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97" name="Google Shape;3697;p5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98" name="Google Shape;3698;p5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99" name="Google Shape;3699;p5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700" name="Google Shape;3700;p57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01" name="Google Shape;3701;p57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702" name="Google Shape;3702;p57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03" name="Google Shape;3703;p57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704" name="Google Shape;3704;p57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05" name="Google Shape;3705;p5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06" name="Google Shape;3706;p5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07" name="Google Shape;3707;p5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Only">
  <p:cSld name="10_Title Only">
    <p:spTree>
      <p:nvGrpSpPr>
        <p:cNvPr id="1" name="Shape 3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09" name="Google Shape;3709;p5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10" name="Google Shape;3710;p5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11" name="Google Shape;3711;p5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12" name="Google Shape;3712;p5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13" name="Google Shape;3713;p5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714" name="Google Shape;3714;p57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15" name="Google Shape;3715;p5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16" name="Google Shape;3716;p5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17" name="Google Shape;3717;p5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" name="Google Shape;385;p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6" name="Google Shape;386;p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87" name="Google Shape;387;p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88" name="Google Shape;388;p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9" name="Google Shape;389;p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0" name="Google Shape;390;p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1" name="Google Shape;391;p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92" name="Google Shape;392;p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3" name="Google Shape;393;p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4" name="Google Shape;394;p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5" name="Google Shape;395;p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End">
  <p:cSld name="9_End">
    <p:spTree>
      <p:nvGrpSpPr>
        <p:cNvPr id="1" name="Shape 37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19" name="Google Shape;3719;p57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720" name="Google Shape;3720;p57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1" name="Google Shape;3721;p57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722" name="Google Shape;3722;p57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23" name="Google Shape;3723;p57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24" name="Google Shape;3724;p57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725" name="Google Shape;3725;p5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726" name="Google Shape;3726;p57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Blank">
  <p:cSld name="9_Blank">
    <p:spTree>
      <p:nvGrpSpPr>
        <p:cNvPr id="1" name="Shape 37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8" name="Google Shape;3728;p5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29" name="Google Shape;3729;p5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30" name="Google Shape;3730;p5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31" name="Google Shape;3731;p5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32" name="Google Shape;3732;p5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33" name="Google Shape;3733;p5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34" name="Google Shape;3734;p5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35" name="Google Shape;3735;p5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37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7" name="Google Shape;3737;p57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38" name="Google Shape;3738;p574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739" name="Google Shape;3739;p5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3740" name="Google Shape;3740;p574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741" name="Google Shape;3741;p5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3742" name="Google Shape;3742;p574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43" name="Google Shape;3743;p574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44" name="Google Shape;3744;p574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45" name="Google Shape;3745;p5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46" name="Google Shape;3746;p57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47" name="Google Shape;3747;p5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Quotation">
  <p:cSld name="18_Quotation">
    <p:spTree>
      <p:nvGrpSpPr>
        <p:cNvPr id="1" name="Shape 37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9" name="Google Shape;3749;p57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50" name="Google Shape;3750;p57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51" name="Google Shape;3751;p57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52" name="Google Shape;3752;p5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53" name="Google Shape;3753;p5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54" name="Google Shape;3754;p5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55" name="Google Shape;3755;p5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56" name="Google Shape;3756;p5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57" name="Google Shape;3757;p5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58" name="Google Shape;3758;p5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59" name="Google Shape;3759;p5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760" name="Google Shape;3760;p57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Quotation">
  <p:cSld name="19_Quotation">
    <p:spTree>
      <p:nvGrpSpPr>
        <p:cNvPr id="1" name="Shape 37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2" name="Google Shape;3762;p57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63" name="Google Shape;3763;p57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64" name="Google Shape;3764;p5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65" name="Google Shape;3765;p5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66" name="Google Shape;3766;p5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67" name="Google Shape;3767;p5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68" name="Google Shape;3768;p5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69" name="Google Shape;3769;p5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70" name="Google Shape;3770;p5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71" name="Google Shape;3771;p5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72" name="Google Shape;3772;p5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773" name="Google Shape;3773;p57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 type="title">
  <p:cSld name="TITLE">
    <p:spTree>
      <p:nvGrpSpPr>
        <p:cNvPr id="1" name="Shape 3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5" name="Google Shape;3775;p577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76" name="Google Shape;3776;p577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777" name="Google Shape;3777;p57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78" name="Google Shape;3778;p5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79" name="Google Shape;3779;p5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37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1" name="Google Shape;3781;p57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82" name="Google Shape;3782;p57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83" name="Google Shape;3783;p57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84" name="Google Shape;3784;p5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85" name="Google Shape;3785;p5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786" name="Google Shape;3786;p57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87" name="Google Shape;3787;p57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88" name="Google Shape;3788;p57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789" name="Google Shape;3789;p5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_Yale Blue">
  <p:cSld name="4_Title Slide_Yale Blue">
    <p:spTree>
      <p:nvGrpSpPr>
        <p:cNvPr id="1" name="Shape 37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1" name="Google Shape;3791;p57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92" name="Google Shape;3792;p57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93" name="Google Shape;3793;p57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94" name="Google Shape;3794;p5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95" name="Google Shape;3795;p5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796" name="Google Shape;3796;p57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97" name="Google Shape;3797;p57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98" name="Google Shape;3798;p57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799" name="Google Shape;3799;p57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3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1" name="Google Shape;3801;p58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02" name="Google Shape;3802;p58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03" name="Google Shape;3803;p58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04" name="Google Shape;3804;p58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05" name="Google Shape;3805;p58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and Content">
  <p:cSld name="13_Title and Content">
    <p:spTree>
      <p:nvGrpSpPr>
        <p:cNvPr id="1" name="Shape 3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7" name="Google Shape;3807;p58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808" name="Google Shape;3808;p5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809" name="Google Shape;3809;p58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10" name="Google Shape;3810;p58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11" name="Google Shape;3811;p58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7" name="Google Shape;397;p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8" name="Google Shape;398;p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9" name="Google Shape;399;p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0" name="Google Shape;400;p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1" name="Google Shape;401;p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2" name="Google Shape;402;p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3" name="Google Shape;403;p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4" name="Google Shape;404;p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5" name="Google Shape;405;p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6" name="Google Shape;406;p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7" name="Google Shape;407;p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8" name="Google Shape;408;p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9" name="Google Shape;409;p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3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3" name="Google Shape;3813;p58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14" name="Google Shape;3814;p58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15" name="Google Shape;3815;p58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16" name="Google Shape;3816;p58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17" name="Google Shape;3817;p58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818" name="Google Shape;3818;p5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_Yale Blue">
  <p:cSld name="5_Title Slide_Yale Blue">
    <p:spTree>
      <p:nvGrpSpPr>
        <p:cNvPr id="1" name="Shape 38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0" name="Google Shape;3820;p58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21" name="Google Shape;3821;p58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22" name="Google Shape;3822;p58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23" name="Google Shape;3823;p5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24" name="Google Shape;3824;p5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25" name="Google Shape;3825;p58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26" name="Google Shape;3826;p58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27" name="Google Shape;3827;p58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28" name="Google Shape;3828;p5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Bullets Layout">
  <p:cSld name="1_Title and Bullets Layout">
    <p:spTree>
      <p:nvGrpSpPr>
        <p:cNvPr id="1" name="Shape 38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0" name="Google Shape;3830;p58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31" name="Google Shape;3831;p58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32" name="Google Shape;3832;p58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33" name="Google Shape;3833;p58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34" name="Google Shape;3834;p5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>
  <p:cSld name="14_Title and Content">
    <p:spTree>
      <p:nvGrpSpPr>
        <p:cNvPr id="1" name="Shape 3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6" name="Google Shape;3836;p58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837" name="Google Shape;3837;p5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838" name="Google Shape;3838;p58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39" name="Google Shape;3839;p58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40" name="Google Shape;3840;p58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wo Section | Picture and Copy Layout">
  <p:cSld name="1_Two Section | Picture and Copy Layout">
    <p:spTree>
      <p:nvGrpSpPr>
        <p:cNvPr id="1" name="Shape 38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2" name="Google Shape;3842;p58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43" name="Google Shape;3843;p58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44" name="Google Shape;3844;p58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45" name="Google Shape;3845;p58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46" name="Google Shape;3846;p58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847" name="Google Shape;3847;p5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_Yale Blue">
  <p:cSld name="6_Title Slide_Yale Blue">
    <p:spTree>
      <p:nvGrpSpPr>
        <p:cNvPr id="1" name="Shape 38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9" name="Google Shape;3849;p58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50" name="Google Shape;3850;p58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51" name="Google Shape;3851;p58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52" name="Google Shape;3852;p5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53" name="Google Shape;3853;p5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54" name="Google Shape;3854;p58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55" name="Google Shape;3855;p58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56" name="Google Shape;3856;p58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57" name="Google Shape;3857;p5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_Yale Blue">
  <p:cSld name="7_Title Slide_Yale Blue">
    <p:spTree>
      <p:nvGrpSpPr>
        <p:cNvPr id="1" name="Shape 3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9" name="Google Shape;3859;p58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60" name="Google Shape;3860;p58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61" name="Google Shape;3861;p58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62" name="Google Shape;3862;p5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63" name="Google Shape;3863;p5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64" name="Google Shape;3864;p58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65" name="Google Shape;3865;p58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66" name="Google Shape;3866;p58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67" name="Google Shape;3867;p5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Bullets Layout">
  <p:cSld name="2_Title and Bullets Layout">
    <p:spTree>
      <p:nvGrpSpPr>
        <p:cNvPr id="1" name="Shape 3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9" name="Google Shape;3869;p589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70" name="Google Shape;3870;p58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71" name="Google Shape;3871;p58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72" name="Google Shape;3872;p589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73" name="Google Shape;3873;p5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and Content">
  <p:cSld name="15_Title and Content">
    <p:spTree>
      <p:nvGrpSpPr>
        <p:cNvPr id="1" name="Shape 38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5" name="Google Shape;3875;p59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876" name="Google Shape;3876;p5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877" name="Google Shape;3877;p59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78" name="Google Shape;3878;p590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79" name="Google Shape;3879;p590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wo Section | Picture and Copy Layout">
  <p:cSld name="2_Two Section | Picture and Copy Layout">
    <p:spTree>
      <p:nvGrpSpPr>
        <p:cNvPr id="1" name="Shape 38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1" name="Google Shape;3881;p59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82" name="Google Shape;3882;p59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83" name="Google Shape;3883;p591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84" name="Google Shape;3884;p591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85" name="Google Shape;3885;p591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886" name="Google Shape;3886;p5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1" name="Google Shape;411;p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2" name="Google Shape;412;p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3" name="Google Shape;413;p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4" name="Google Shape;414;p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5" name="Google Shape;415;p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6" name="Google Shape;416;p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7" name="Google Shape;417;p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8" name="Google Shape;418;p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9" name="Google Shape;419;p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_Yale Blue">
  <p:cSld name="8_Title Slide_Yale Blue">
    <p:spTree>
      <p:nvGrpSpPr>
        <p:cNvPr id="1" name="Shape 38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8" name="Google Shape;3888;p59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89" name="Google Shape;3889;p59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90" name="Google Shape;3890;p59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91" name="Google Shape;3891;p5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92" name="Google Shape;3892;p5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93" name="Google Shape;3893;p59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4" name="Google Shape;3894;p59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5" name="Google Shape;3895;p59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96" name="Google Shape;3896;p5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Bullets Layout">
  <p:cSld name="3_Title and Bullets Layout">
    <p:spTree>
      <p:nvGrpSpPr>
        <p:cNvPr id="1" name="Shape 38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8" name="Google Shape;3898;p59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99" name="Google Shape;3899;p59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00" name="Google Shape;3900;p59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01" name="Google Shape;3901;p59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902" name="Google Shape;3902;p5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itle and Content">
  <p:cSld name="16_Title and Content">
    <p:spTree>
      <p:nvGrpSpPr>
        <p:cNvPr id="1" name="Shape 39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4" name="Google Shape;3904;p59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905" name="Google Shape;3905;p5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906" name="Google Shape;3906;p59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07" name="Google Shape;3907;p59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08" name="Google Shape;3908;p59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wo Section | Picture and Copy Layout">
  <p:cSld name="3_Two Section | Picture and Copy Layout">
    <p:spTree>
      <p:nvGrpSpPr>
        <p:cNvPr id="1" name="Shape 3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0" name="Google Shape;3910;p59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11" name="Google Shape;3911;p59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12" name="Google Shape;3912;p59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13" name="Google Shape;3913;p59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14" name="Google Shape;3914;p59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915" name="Google Shape;3915;p5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Bullets Layout">
  <p:cSld name="4_Title and Bullets Layout">
    <p:spTree>
      <p:nvGrpSpPr>
        <p:cNvPr id="1" name="Shape 3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7" name="Google Shape;3917;p59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18" name="Google Shape;3918;p59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19" name="Google Shape;3919;p59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20" name="Google Shape;3920;p59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921" name="Google Shape;3921;p5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itle and Content">
  <p:cSld name="17_Title and Content">
    <p:spTree>
      <p:nvGrpSpPr>
        <p:cNvPr id="1" name="Shape 39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3" name="Google Shape;3923;p59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924" name="Google Shape;3924;p5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925" name="Google Shape;3925;p59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26" name="Google Shape;3926;p59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27" name="Google Shape;3927;p59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wo Section | Picture and Copy Layout">
  <p:cSld name="4_Two Section | Picture and Copy Layout">
    <p:spTree>
      <p:nvGrpSpPr>
        <p:cNvPr id="1" name="Shape 39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9" name="Google Shape;3929;p59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30" name="Google Shape;3930;p59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31" name="Google Shape;3931;p59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32" name="Google Shape;3932;p59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33" name="Google Shape;3933;p59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934" name="Google Shape;3934;p5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over">
  <p:cSld name="10_Cover">
    <p:spTree>
      <p:nvGrpSpPr>
        <p:cNvPr id="1" name="Shape 39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36" name="Google Shape;3936;p59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37" name="Google Shape;3937;p59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38" name="Google Shape;3938;p59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939" name="Google Shape;3939;p59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940" name="Google Shape;3940;p59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941" name="Google Shape;3941;p59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2" name="Google Shape;3942;p59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943" name="Google Shape;3943;p5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Divider">
  <p:cSld name="12_Divider">
    <p:bg>
      <p:bgPr>
        <a:solidFill>
          <a:schemeClr val="lt2"/>
        </a:solidFill>
        <a:effectLst/>
      </p:bgPr>
    </p:bg>
    <p:spTree>
      <p:nvGrpSpPr>
        <p:cNvPr id="1" name="Shape 39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45" name="Google Shape;3945;p60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946" name="Google Shape;3946;p60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7" name="Google Shape;3947;p6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8" name="Google Shape;3948;p60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949" name="Google Shape;3949;p6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950" name="Google Shape;3950;p60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51" name="Google Shape;3951;p60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Photo Slide">
  <p:cSld name="11_Photo Slide">
    <p:spTree>
      <p:nvGrpSpPr>
        <p:cNvPr id="1" name="Shape 3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3" name="Google Shape;3953;p60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954" name="Google Shape;3954;p60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955" name="Google Shape;3955;p60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956" name="Google Shape;3956;p60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57" name="Google Shape;3957;p60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958" name="Google Shape;3958;p60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959" name="Google Shape;3959;p6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oogle Shape;44;p5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5" name="Google Shape;45;p5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46;p5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" name="Google Shape;47;p5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8" name="Google Shape;48;p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9" name="Google Shape;49;p5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5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1" name="Google Shape;421;p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22" name="Google Shape;422;p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24" name="Google Shape;424;p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5" name="Google Shape;425;p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6" name="Google Shape;426;p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27" name="Google Shape;427;p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28" name="Google Shape;428;p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Quotation">
  <p:cSld name="20_Quotation">
    <p:spTree>
      <p:nvGrpSpPr>
        <p:cNvPr id="1" name="Shape 39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1" name="Google Shape;3961;p6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62" name="Google Shape;3962;p6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63" name="Google Shape;3963;p6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64" name="Google Shape;3964;p6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65" name="Google Shape;3965;p6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66" name="Google Shape;3966;p6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967" name="Google Shape;3967;p6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68" name="Google Shape;3968;p6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69" name="Google Shape;3969;p6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70" name="Google Shape;3970;p6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71" name="Google Shape;3971;p6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972" name="Google Shape;3972;p60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itle and Content">
  <p:cSld name="18_Title and Content">
    <p:spTree>
      <p:nvGrpSpPr>
        <p:cNvPr id="1" name="Shape 39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74" name="Google Shape;3974;p6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75" name="Google Shape;3975;p6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76" name="Google Shape;3976;p6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77" name="Google Shape;3977;p6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78" name="Google Shape;3978;p6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979" name="Google Shape;3979;p6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80" name="Google Shape;3980;p60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81" name="Google Shape;3981;p6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82" name="Google Shape;3982;p6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83" name="Google Shape;3983;p6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wo Content">
  <p:cSld name="11_Two Content">
    <p:spTree>
      <p:nvGrpSpPr>
        <p:cNvPr id="1" name="Shape 3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5" name="Google Shape;3985;p6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86" name="Google Shape;3986;p60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987" name="Google Shape;3987;p6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88" name="Google Shape;3988;p6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89" name="Google Shape;3989;p6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90" name="Google Shape;3990;p6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91" name="Google Shape;3991;p6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992" name="Google Shape;3992;p60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93" name="Google Shape;3993;p60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94" name="Google Shape;3994;p6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95" name="Google Shape;3995;p6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omparison">
  <p:cSld name="10_Comparison">
    <p:spTree>
      <p:nvGrpSpPr>
        <p:cNvPr id="1" name="Shape 3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97" name="Google Shape;3997;p6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98" name="Google Shape;3998;p6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99" name="Google Shape;3999;p6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00" name="Google Shape;4000;p6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01" name="Google Shape;4001;p6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02" name="Google Shape;4002;p6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03" name="Google Shape;4003;p60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04" name="Google Shape;4004;p60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05" name="Google Shape;4005;p60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06" name="Google Shape;4006;p60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07" name="Google Shape;4007;p6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08" name="Google Shape;4008;p6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09" name="Google Shape;4009;p6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Only">
  <p:cSld name="11_Title Only">
    <p:spTree>
      <p:nvGrpSpPr>
        <p:cNvPr id="1" name="Shape 4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11" name="Google Shape;4011;p6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12" name="Google Shape;4012;p6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13" name="Google Shape;4013;p6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14" name="Google Shape;4014;p6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15" name="Google Shape;4015;p6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16" name="Google Shape;4016;p6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17" name="Google Shape;4017;p6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18" name="Google Shape;4018;p6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19" name="Google Shape;4019;p6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End">
  <p:cSld name="10_End">
    <p:spTree>
      <p:nvGrpSpPr>
        <p:cNvPr id="1" name="Shape 40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21" name="Google Shape;4021;p60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022" name="Google Shape;4022;p60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23" name="Google Shape;4023;p60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024" name="Google Shape;4024;p60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25" name="Google Shape;4025;p60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26" name="Google Shape;4026;p60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027" name="Google Shape;4027;p6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028" name="Google Shape;4028;p6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Blank">
  <p:cSld name="10_Blank">
    <p:spTree>
      <p:nvGrpSpPr>
        <p:cNvPr id="1" name="Shape 40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0" name="Google Shape;4030;p6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31" name="Google Shape;4031;p6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32" name="Google Shape;4032;p6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033" name="Google Shape;4033;p6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34" name="Google Shape;4034;p6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35" name="Google Shape;4035;p6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36" name="Google Shape;4036;p6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37" name="Google Shape;4037;p6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over">
  <p:cSld name="11_Cover">
    <p:spTree>
      <p:nvGrpSpPr>
        <p:cNvPr id="1" name="Shape 40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9" name="Google Shape;4039;p60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40" name="Google Shape;4040;p60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41" name="Google Shape;4041;p60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042" name="Google Shape;4042;p60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043" name="Google Shape;4043;p60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044" name="Google Shape;4044;p6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45" name="Google Shape;4045;p60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046" name="Google Shape;4046;p6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Divider">
  <p:cSld name="13_Divider">
    <p:bg>
      <p:bgPr>
        <a:solidFill>
          <a:schemeClr val="lt2"/>
        </a:solidFill>
        <a:effectLst/>
      </p:bgPr>
    </p:bg>
    <p:spTree>
      <p:nvGrpSpPr>
        <p:cNvPr id="1" name="Shape 40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48" name="Google Shape;4048;p61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049" name="Google Shape;4049;p61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50" name="Google Shape;4050;p61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51" name="Google Shape;4051;p61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052" name="Google Shape;4052;p6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053" name="Google Shape;4053;p61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54" name="Google Shape;4054;p61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Photo Slide">
  <p:cSld name="12_Photo Slide">
    <p:spTree>
      <p:nvGrpSpPr>
        <p:cNvPr id="1" name="Shape 4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6" name="Google Shape;4056;p6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057" name="Google Shape;4057;p6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058" name="Google Shape;4058;p6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059" name="Google Shape;4059;p6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60" name="Google Shape;4060;p6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061" name="Google Shape;4061;p6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062" name="Google Shape;4062;p6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Google Shape;430;p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1" name="Google Shape;431;p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2" name="Google Shape;432;p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33" name="Google Shape;433;p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4" name="Google Shape;434;p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5" name="Google Shape;435;p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6" name="Google Shape;436;p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Quotation">
  <p:cSld name="21_Quotation">
    <p:spTree>
      <p:nvGrpSpPr>
        <p:cNvPr id="1" name="Shape 40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4" name="Google Shape;4064;p6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65" name="Google Shape;4065;p6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66" name="Google Shape;4066;p6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67" name="Google Shape;4067;p6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68" name="Google Shape;4068;p6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69" name="Google Shape;4069;p6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070" name="Google Shape;4070;p6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71" name="Google Shape;4071;p6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72" name="Google Shape;4072;p6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73" name="Google Shape;4073;p6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74" name="Google Shape;4074;p6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075" name="Google Shape;4075;p6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itle and Content">
  <p:cSld name="19_Title and Content">
    <p:spTree>
      <p:nvGrpSpPr>
        <p:cNvPr id="1" name="Shape 4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77" name="Google Shape;4077;p6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78" name="Google Shape;4078;p6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79" name="Google Shape;4079;p6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80" name="Google Shape;4080;p6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81" name="Google Shape;4081;p6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82" name="Google Shape;4082;p6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83" name="Google Shape;4083;p6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84" name="Google Shape;4084;p6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85" name="Google Shape;4085;p6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86" name="Google Shape;4086;p6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wo Content">
  <p:cSld name="12_Two Content">
    <p:spTree>
      <p:nvGrpSpPr>
        <p:cNvPr id="1" name="Shape 40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88" name="Google Shape;4088;p6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89" name="Google Shape;4089;p61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090" name="Google Shape;4090;p6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91" name="Google Shape;4091;p6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92" name="Google Shape;4092;p6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93" name="Google Shape;4093;p6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94" name="Google Shape;4094;p6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95" name="Google Shape;4095;p61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96" name="Google Shape;4096;p61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97" name="Google Shape;4097;p6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98" name="Google Shape;4098;p6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omparison">
  <p:cSld name="11_Comparison">
    <p:spTree>
      <p:nvGrpSpPr>
        <p:cNvPr id="1" name="Shape 40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00" name="Google Shape;4100;p6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01" name="Google Shape;4101;p6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02" name="Google Shape;4102;p6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03" name="Google Shape;4103;p6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04" name="Google Shape;4104;p6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05" name="Google Shape;4105;p6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06" name="Google Shape;4106;p61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107" name="Google Shape;4107;p61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08" name="Google Shape;4108;p61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109" name="Google Shape;4109;p61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10" name="Google Shape;4110;p6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11" name="Google Shape;4111;p6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12" name="Google Shape;4112;p6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Only">
  <p:cSld name="12_Title Only">
    <p:spTree>
      <p:nvGrpSpPr>
        <p:cNvPr id="1" name="Shape 4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14" name="Google Shape;4114;p6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15" name="Google Shape;4115;p6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16" name="Google Shape;4116;p6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17" name="Google Shape;4117;p6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18" name="Google Shape;4118;p6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19" name="Google Shape;4119;p6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20" name="Google Shape;4120;p6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21" name="Google Shape;4121;p6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22" name="Google Shape;4122;p6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End">
  <p:cSld name="11_End">
    <p:spTree>
      <p:nvGrpSpPr>
        <p:cNvPr id="1" name="Shape 4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24" name="Google Shape;4124;p61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25" name="Google Shape;4125;p61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6" name="Google Shape;4126;p61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127" name="Google Shape;4127;p61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28" name="Google Shape;4128;p61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29" name="Google Shape;4129;p61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130" name="Google Shape;4130;p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131" name="Google Shape;4131;p6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Blank">
  <p:cSld name="11_Blank">
    <p:spTree>
      <p:nvGrpSpPr>
        <p:cNvPr id="1" name="Shape 4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3" name="Google Shape;4133;p6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34" name="Google Shape;4134;p6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35" name="Google Shape;4135;p6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136" name="Google Shape;4136;p6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37" name="Google Shape;4137;p6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38" name="Google Shape;4138;p6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39" name="Google Shape;4139;p6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40" name="Google Shape;4140;p6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Slide">
  <p:cSld name="2_Title Slide">
    <p:spTree>
      <p:nvGrpSpPr>
        <p:cNvPr id="1" name="Shape 4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2" name="Google Shape;4142;p619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143" name="Google Shape;4143;p6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144" name="Google Shape;4144;p619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4145" name="Google Shape;4145;p619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146" name="Google Shape;4146;p619"/>
            <p:cNvPicPr preferRelativeResize="0"/>
            <p:nvPr/>
          </p:nvPicPr>
          <p:blipFill rotWithShape="1">
            <a:blip r:embed="rId3">
              <a:alphaModFix/>
            </a:blip>
            <a:srcRect l="7219" t="16937" r="72250" b="20588"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4147" name="Google Shape;4147;p619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48" name="Google Shape;4148;p619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49" name="Google Shape;4149;p619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50" name="Google Shape;4150;p619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4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52" name="Google Shape;4152;p620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53" name="Google Shape;4153;p620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54" name="Google Shape;4154;p620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55" name="Google Shape;4155;p620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56" name="Google Shape;4156;p6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4157" name="Google Shape;4157;p620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4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59" name="Google Shape;4159;p621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60" name="Google Shape;4160;p621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4161" name="Google Shape;4161;p62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62" name="Google Shape;4162;p6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63" name="Google Shape;4163;p6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9" name="Google Shape;439;p9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0" name="Google Shape;440;p9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1" name="Google Shape;441;p9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42" name="Google Shape;442;p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43" name="Google Shape;443;p9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44" name="Google Shape;444;p9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5" name="Google Shape;445;p9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46" name="Google Shape;446;p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4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5" name="Google Shape;4165;p622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66" name="Google Shape;4166;p622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4167" name="Google Shape;4167;p622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4168" name="Google Shape;4168;p62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69" name="Google Shape;4169;p6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70" name="Google Shape;4170;p6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4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72" name="Google Shape;4172;p623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73" name="Google Shape;4173;p623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174" name="Google Shape;4174;p623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75" name="Google Shape;4175;p623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176" name="Google Shape;4176;p623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77" name="Google Shape;4177;p623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178" name="Google Shape;4178;p623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79" name="Google Shape;4179;p623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4180" name="Google Shape;4180;p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4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87" name="Google Shape;4187;p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88" name="Google Shape;4188;p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89" name="Google Shape;4189;p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90" name="Google Shape;4190;p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91" name="Google Shape;4191;p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92" name="Google Shape;4192;p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93" name="Google Shape;4193;p5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94" name="Google Shape;4194;p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95" name="Google Shape;4195;p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96" name="Google Shape;4196;p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4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98" name="Google Shape;4198;p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99" name="Google Shape;4199;p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00" name="Google Shape;4200;p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01" name="Google Shape;4201;p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02" name="Google Shape;4202;p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03" name="Google Shape;4203;p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04" name="Google Shape;4204;p5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05" name="Google Shape;4205;p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06" name="Google Shape;4206;p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07" name="Google Shape;4207;p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">
    <p:spTree>
      <p:nvGrpSpPr>
        <p:cNvPr id="1" name="Shape 4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09" name="Google Shape;4209;p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10" name="Google Shape;4210;p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11" name="Google Shape;4211;p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12" name="Google Shape;4212;p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13" name="Google Shape;4213;p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14" name="Google Shape;4214;p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15" name="Google Shape;4215;p5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16" name="Google Shape;4216;p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17" name="Google Shape;4217;p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18" name="Google Shape;4218;p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4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0" name="Google Shape;4220;p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21" name="Google Shape;4221;p5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222" name="Google Shape;4222;p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23" name="Google Shape;4223;p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24" name="Google Shape;4224;p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25" name="Google Shape;4225;p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26" name="Google Shape;4226;p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27" name="Google Shape;4227;p5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28" name="Google Shape;4228;p5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29" name="Google Shape;4229;p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30" name="Google Shape;4230;p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4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32" name="Google Shape;4232;p6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33" name="Google Shape;4233;p6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34" name="Google Shape;4234;p6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35" name="Google Shape;4235;p6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36" name="Google Shape;4236;p6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37" name="Google Shape;4237;p6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38" name="Google Shape;4238;p62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39" name="Google Shape;4239;p6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40" name="Google Shape;4240;p6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41" name="Google Shape;4241;p6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OBJECT 2">
    <p:spTree>
      <p:nvGrpSpPr>
        <p:cNvPr id="1" name="Shape 4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43" name="Google Shape;4243;p6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44" name="Google Shape;4244;p6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45" name="Google Shape;4245;p6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46" name="Google Shape;4246;p6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47" name="Google Shape;4247;p6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48" name="Google Shape;4248;p6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49" name="Google Shape;4249;p62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50" name="Google Shape;4250;p6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51" name="Google Shape;4251;p6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52" name="Google Shape;4252;p6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OBJECT 3">
    <p:spTree>
      <p:nvGrpSpPr>
        <p:cNvPr id="1" name="Shape 4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4" name="Google Shape;4254;p6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55" name="Google Shape;4255;p6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56" name="Google Shape;4256;p6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57" name="Google Shape;4257;p6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58" name="Google Shape;4258;p6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59" name="Google Shape;4259;p6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60" name="Google Shape;4260;p62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61" name="Google Shape;4261;p6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62" name="Google Shape;4262;p6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63" name="Google Shape;4263;p6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4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65" name="Google Shape;4265;p62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66" name="Google Shape;4266;p62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67" name="Google Shape;4267;p62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268" name="Google Shape;4268;p62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269" name="Google Shape;4269;p62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270" name="Google Shape;4270;p62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1" name="Google Shape;4271;p62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272" name="Google Shape;4272;p6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8" name="Google Shape;448;p9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49" name="Google Shape;449;p9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0" name="Google Shape;450;p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1" name="Google Shape;451;p9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52" name="Google Shape;452;p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53" name="Google Shape;453;p9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4" name="Google Shape;454;p9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4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74" name="Google Shape;4274;p6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75" name="Google Shape;4275;p6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76" name="Google Shape;4276;p6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77" name="Google Shape;4277;p6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78" name="Google Shape;4278;p6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79" name="Google Shape;4279;p6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80" name="Google Shape;4280;p62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81" name="Google Shape;4281;p6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82" name="Google Shape;4282;p6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83" name="Google Shape;4283;p6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 2">
    <p:spTree>
      <p:nvGrpSpPr>
        <p:cNvPr id="1" name="Shape 4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85" name="Google Shape;4285;p6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86" name="Google Shape;4286;p6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87" name="Google Shape;4287;p6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88" name="Google Shape;4288;p6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89" name="Google Shape;4289;p6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90" name="Google Shape;4290;p6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91" name="Google Shape;4291;p62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92" name="Google Shape;4292;p6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93" name="Google Shape;4293;p6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94" name="Google Shape;4294;p6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4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96" name="Google Shape;4296;p6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97" name="Google Shape;4297;p63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298" name="Google Shape;4298;p6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99" name="Google Shape;4299;p6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00" name="Google Shape;4300;p6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01" name="Google Shape;4301;p6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02" name="Google Shape;4302;p6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03" name="Google Shape;4303;p63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04" name="Google Shape;4304;p63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05" name="Google Shape;4305;p6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06" name="Google Shape;4306;p6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4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08" name="Google Shape;4308;p6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09" name="Google Shape;4309;p6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10" name="Google Shape;4310;p6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11" name="Google Shape;4311;p6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12" name="Google Shape;4312;p6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13" name="Google Shape;4313;p6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14" name="Google Shape;4314;p63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15" name="Google Shape;4315;p6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16" name="Google Shape;4316;p6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17" name="Google Shape;4317;p6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9" name="Google Shape;4319;p6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20" name="Google Shape;4320;p6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21" name="Google Shape;4321;p6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322" name="Google Shape;4322;p6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23" name="Google Shape;4323;p6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24" name="Google Shape;4324;p6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25" name="Google Shape;4325;p6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6" name="Google Shape;4326;p6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4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28" name="Google Shape;4328;p63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329" name="Google Shape;4329;p63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30" name="Google Shape;4330;p63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31" name="Google Shape;4331;p63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332" name="Google Shape;4332;p6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333" name="Google Shape;4333;p63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34" name="Google Shape;4334;p63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4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36" name="Google Shape;4336;p63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337" name="Google Shape;4337;p63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338" name="Google Shape;4338;p63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339" name="Google Shape;4339;p63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40" name="Google Shape;4340;p63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341" name="Google Shape;4341;p63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342" name="Google Shape;4342;p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4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44" name="Google Shape;4344;p6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45" name="Google Shape;4345;p6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46" name="Google Shape;4346;p6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47" name="Google Shape;4347;p6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8" name="Google Shape;4348;p6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49" name="Google Shape;4349;p6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50" name="Google Shape;4350;p63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51" name="Google Shape;4351;p6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52" name="Google Shape;4352;p6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53" name="Google Shape;4353;p6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4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5" name="Google Shape;4355;p63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56" name="Google Shape;4356;p63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57" name="Google Shape;4357;p63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358" name="Google Shape;4358;p63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359" name="Google Shape;4359;p63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360" name="Google Shape;4360;p63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61" name="Google Shape;4361;p63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362" name="Google Shape;4362;p6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_OBJECTS 2">
    <p:spTree>
      <p:nvGrpSpPr>
        <p:cNvPr id="1" name="Shape 4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4" name="Google Shape;4364;p6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65" name="Google Shape;4365;p63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366" name="Google Shape;4366;p6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67" name="Google Shape;4367;p6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68" name="Google Shape;4368;p6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69" name="Google Shape;4369;p6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0" name="Google Shape;4370;p6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71" name="Google Shape;4371;p63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72" name="Google Shape;4372;p63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73" name="Google Shape;4373;p6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74" name="Google Shape;4374;p6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Google Shape;456;p9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7" name="Google Shape;457;p9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8" name="Google Shape;458;p9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9" name="Google Shape;459;p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0" name="Google Shape;460;p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1" name="Google Shape;461;p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62" name="Google Shape;462;p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3" name="Google Shape;463;p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4" name="Google Shape;464;p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5" name="Google Shape;465;p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67" name="Google Shape;467;p9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 3">
    <p:spTree>
      <p:nvGrpSpPr>
        <p:cNvPr id="1" name="Shape 4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76" name="Google Shape;4376;p6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77" name="Google Shape;4377;p6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78" name="Google Shape;4378;p6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79" name="Google Shape;4379;p6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0" name="Google Shape;4380;p6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81" name="Google Shape;4381;p6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82" name="Google Shape;4382;p6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83" name="Google Shape;4383;p6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84" name="Google Shape;4384;p6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85" name="Google Shape;4385;p6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4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87" name="Google Shape;4387;p63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88" name="Google Shape;4388;p63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389" name="Google Shape;4389;p6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90" name="Google Shape;4390;p6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91" name="Google Shape;4391;p6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92" name="Google Shape;4392;p6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3" name="Google Shape;4393;p6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94" name="Google Shape;4394;p63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95" name="Google Shape;4395;p63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96" name="Google Shape;4396;p6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97" name="Google Shape;4397;p6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 2">
    <p:spTree>
      <p:nvGrpSpPr>
        <p:cNvPr id="1" name="Shape 4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99" name="Google Shape;4399;p6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00" name="Google Shape;4400;p6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01" name="Google Shape;4401;p6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02" name="Google Shape;4402;p6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3" name="Google Shape;4403;p6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04" name="Google Shape;4404;p6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05" name="Google Shape;4405;p64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06" name="Google Shape;4406;p6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07" name="Google Shape;4407;p6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08" name="Google Shape;4408;p6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4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0" name="Google Shape;4410;p6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11" name="Google Shape;4411;p6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12" name="Google Shape;4412;p6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413" name="Google Shape;4413;p6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14" name="Google Shape;4414;p6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15" name="Google Shape;4415;p6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16" name="Google Shape;4416;p6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7" name="Google Shape;4417;p6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4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19" name="Google Shape;4419;p64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420" name="Google Shape;4420;p64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21" name="Google Shape;4421;p64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22" name="Google Shape;4422;p64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423" name="Google Shape;4423;p6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424" name="Google Shape;4424;p64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25" name="Google Shape;4425;p64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4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7" name="Google Shape;4427;p64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428" name="Google Shape;4428;p64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429" name="Google Shape;4429;p64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430" name="Google Shape;4430;p64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31" name="Google Shape;4431;p64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432" name="Google Shape;4432;p64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433" name="Google Shape;4433;p6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 2">
    <p:spTree>
      <p:nvGrpSpPr>
        <p:cNvPr id="1" name="Shape 44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35" name="Google Shape;4435;p6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36" name="Google Shape;4436;p6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37" name="Google Shape;4437;p6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38" name="Google Shape;4438;p6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9" name="Google Shape;4439;p6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40" name="Google Shape;4440;p6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41" name="Google Shape;4441;p6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42" name="Google Shape;4442;p6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43" name="Google Shape;4443;p6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44" name="Google Shape;4444;p6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 2">
    <p:spTree>
      <p:nvGrpSpPr>
        <p:cNvPr id="1" name="Shape 4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46" name="Google Shape;4446;p6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47" name="Google Shape;4447;p6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48" name="Google Shape;4448;p6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49" name="Google Shape;4449;p6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0" name="Google Shape;4450;p6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51" name="Google Shape;4451;p6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52" name="Google Shape;4452;p6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53" name="Google Shape;4453;p6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54" name="Google Shape;4454;p6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55" name="Google Shape;4455;p6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 3">
    <p:spTree>
      <p:nvGrpSpPr>
        <p:cNvPr id="1" name="Shape 44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57" name="Google Shape;4457;p6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58" name="Google Shape;4458;p6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59" name="Google Shape;4459;p6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60" name="Google Shape;4460;p6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1" name="Google Shape;4461;p6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62" name="Google Shape;4462;p6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63" name="Google Shape;4463;p64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64" name="Google Shape;4464;p6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65" name="Google Shape;4465;p6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66" name="Google Shape;4466;p6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 2">
    <p:bg>
      <p:bgPr>
        <a:solidFill>
          <a:schemeClr val="lt2"/>
        </a:solidFill>
        <a:effectLst/>
      </p:bgPr>
    </p:bg>
    <p:spTree>
      <p:nvGrpSpPr>
        <p:cNvPr id="1" name="Shape 4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68" name="Google Shape;4468;p64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469" name="Google Shape;4469;p64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70" name="Google Shape;4470;p64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71" name="Google Shape;4471;p64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472" name="Google Shape;4472;p6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473" name="Google Shape;4473;p64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74" name="Google Shape;4474;p64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9" name="Google Shape;469;p10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70" name="Google Shape;470;p10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71" name="Google Shape;471;p10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72" name="Google Shape;472;p10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0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4" name="Google Shape;474;p10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75" name="Google Shape;475;p1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44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76" name="Google Shape;4476;p6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77" name="Google Shape;4477;p6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78" name="Google Shape;4478;p6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79" name="Google Shape;4479;p6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0" name="Google Shape;4480;p6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81" name="Google Shape;4481;p6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82" name="Google Shape;4482;p64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83" name="Google Shape;4483;p6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84" name="Google Shape;4484;p6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85" name="Google Shape;4485;p6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 3">
    <p:bg>
      <p:bgPr>
        <a:solidFill>
          <a:schemeClr val="lt2"/>
        </a:solidFill>
        <a:effectLst/>
      </p:bgPr>
    </p:bg>
    <p:spTree>
      <p:nvGrpSpPr>
        <p:cNvPr id="1" name="Shape 44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87" name="Google Shape;4487;p64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488" name="Google Shape;4488;p64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89" name="Google Shape;4489;p64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90" name="Google Shape;4490;p64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491" name="Google Shape;4491;p6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492" name="Google Shape;4492;p64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93" name="Google Shape;4493;p64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 2">
    <p:spTree>
      <p:nvGrpSpPr>
        <p:cNvPr id="1" name="Shape 4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95" name="Google Shape;4495;p6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96" name="Google Shape;4496;p6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97" name="Google Shape;4497;p6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98" name="Google Shape;4498;p6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9" name="Google Shape;4499;p6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00" name="Google Shape;4500;p6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01" name="Google Shape;4501;p65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02" name="Google Shape;4502;p6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03" name="Google Shape;4503;p6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04" name="Google Shape;4504;p6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 2">
    <p:spTree>
      <p:nvGrpSpPr>
        <p:cNvPr id="1" name="Shape 4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06" name="Google Shape;4506;p6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07" name="Google Shape;4507;p6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08" name="Google Shape;4508;p6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09" name="Google Shape;4509;p6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0" name="Google Shape;4510;p6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11" name="Google Shape;4511;p6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12" name="Google Shape;4512;p65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13" name="Google Shape;4513;p6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14" name="Google Shape;4514;p6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15" name="Google Shape;4515;p6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 2">
    <p:spTree>
      <p:nvGrpSpPr>
        <p:cNvPr id="1" name="Shape 4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17" name="Google Shape;4517;p65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18" name="Google Shape;4518;p65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19" name="Google Shape;4519;p65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520" name="Google Shape;4520;p6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521" name="Google Shape;4521;p65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522" name="Google Shape;4522;p65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23" name="Google Shape;4523;p65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524" name="Google Shape;4524;p6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4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26" name="Google Shape;4526;p65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527" name="Google Shape;4527;p65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28" name="Google Shape;4528;p65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29" name="Google Shape;4529;p65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530" name="Google Shape;4530;p6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531" name="Google Shape;4531;p65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32" name="Google Shape;4532;p65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 2">
    <p:spTree>
      <p:nvGrpSpPr>
        <p:cNvPr id="1" name="Shape 4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34" name="Google Shape;4534;p65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535" name="Google Shape;4535;p65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536" name="Google Shape;4536;p65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537" name="Google Shape;4537;p65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38" name="Google Shape;4538;p65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539" name="Google Shape;4539;p65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540" name="Google Shape;4540;p6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4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42" name="Google Shape;4542;p6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43" name="Google Shape;4543;p6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44" name="Google Shape;4544;p6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45" name="Google Shape;4545;p6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46" name="Google Shape;4546;p6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47" name="Google Shape;4547;p6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548" name="Google Shape;4548;p6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49" name="Google Shape;4549;p6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50" name="Google Shape;4550;p6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51" name="Google Shape;4551;p6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2" name="Google Shape;4552;p6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553" name="Google Shape;4553;p65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45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55" name="Google Shape;4555;p65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56" name="Google Shape;4556;p65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57" name="Google Shape;4557;p65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58" name="Google Shape;4558;p6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59" name="Google Shape;4559;p6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60" name="Google Shape;4560;p6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561" name="Google Shape;4561;p6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62" name="Google Shape;4562;p6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63" name="Google Shape;4563;p6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64" name="Google Shape;4564;p6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5" name="Google Shape;4565;p6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566" name="Google Shape;4566;p65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4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68" name="Google Shape;4568;p6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69" name="Google Shape;4569;p6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70" name="Google Shape;4570;p6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71" name="Google Shape;4571;p6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2" name="Google Shape;4572;p6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73" name="Google Shape;4573;p6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74" name="Google Shape;4574;p65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75" name="Google Shape;4575;p6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76" name="Google Shape;4576;p6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77" name="Google Shape;4577;p6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" name="Google Shape;477;p1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8" name="Google Shape;478;p1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9" name="Google Shape;479;p1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0" name="Google Shape;480;p1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1" name="Google Shape;481;p1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2" name="Google Shape;482;p1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3" name="Google Shape;483;p1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4" name="Google Shape;484;p1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5" name="Google Shape;485;p1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6" name="Google Shape;486;p1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7" name="Google Shape;487;p1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88" name="Google Shape;488;p1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 2">
    <p:spTree>
      <p:nvGrpSpPr>
        <p:cNvPr id="1" name="Shape 45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79" name="Google Shape;4579;p6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80" name="Google Shape;4580;p6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581" name="Google Shape;4581;p6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82" name="Google Shape;4582;p6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83" name="Google Shape;4583;p6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84" name="Google Shape;4584;p6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5" name="Google Shape;4585;p6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86" name="Google Shape;4586;p65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87" name="Google Shape;4587;p65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88" name="Google Shape;4588;p6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89" name="Google Shape;4589;p6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4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91" name="Google Shape;4591;p6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92" name="Google Shape;4592;p6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93" name="Google Shape;4593;p6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94" name="Google Shape;4594;p6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5" name="Google Shape;4595;p6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96" name="Google Shape;4596;p6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97" name="Google Shape;4597;p65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598" name="Google Shape;4598;p65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99" name="Google Shape;4599;p65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600" name="Google Shape;4600;p65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01" name="Google Shape;4601;p6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02" name="Google Shape;4602;p6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03" name="Google Shape;4603;p6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05" name="Google Shape;4605;p66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06" name="Google Shape;4606;p6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07" name="Google Shape;4607;p66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08" name="Google Shape;4608;p6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9" name="Google Shape;4609;p6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610" name="Google Shape;4610;p66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11" name="Google Shape;4611;p6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12" name="Google Shape;4612;p6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13" name="Google Shape;4613;p6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4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15" name="Google Shape;4615;p66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616" name="Google Shape;4616;p66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17" name="Google Shape;4617;p66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618" name="Google Shape;4618;p66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19" name="Google Shape;4619;p66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20" name="Google Shape;4620;p66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621" name="Google Shape;4621;p6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622" name="Google Shape;4622;p66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4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4" name="Google Shape;4624;p6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25" name="Google Shape;4625;p6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26" name="Google Shape;4626;p6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627" name="Google Shape;4627;p6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28" name="Google Shape;4628;p6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29" name="Google Shape;4629;p6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30" name="Google Shape;4630;p6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1" name="Google Shape;4631;p6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 2">
    <p:spTree>
      <p:nvGrpSpPr>
        <p:cNvPr id="1" name="Shape 46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33" name="Google Shape;4633;p6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34" name="Google Shape;4634;p6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35" name="Google Shape;4635;p6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36" name="Google Shape;4636;p6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37" name="Google Shape;4637;p6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38" name="Google Shape;4638;p6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639" name="Google Shape;4639;p6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40" name="Google Shape;4640;p6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41" name="Google Shape;4641;p6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42" name="Google Shape;4642;p6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3" name="Google Shape;4643;p6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644" name="Google Shape;4644;p6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 3">
    <p:spTree>
      <p:nvGrpSpPr>
        <p:cNvPr id="1" name="Shape 4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46" name="Google Shape;4646;p6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47" name="Google Shape;4647;p6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48" name="Google Shape;4648;p6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49" name="Google Shape;4649;p6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50" name="Google Shape;4650;p6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51" name="Google Shape;4651;p6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652" name="Google Shape;4652;p6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53" name="Google Shape;4653;p6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54" name="Google Shape;4654;p6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55" name="Google Shape;4655;p6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6" name="Google Shape;4656;p6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657" name="Google Shape;4657;p66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 3">
    <p:spTree>
      <p:nvGrpSpPr>
        <p:cNvPr id="1" name="Shape 4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9" name="Google Shape;4659;p66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60" name="Google Shape;4660;p66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61" name="Google Shape;4661;p66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662" name="Google Shape;4662;p66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663" name="Google Shape;4663;p66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664" name="Google Shape;4664;p66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65" name="Google Shape;4665;p66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66" name="Google Shape;4666;p6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 2">
    <p:bg>
      <p:bgPr>
        <a:solidFill>
          <a:schemeClr val="lt2"/>
        </a:solidFill>
        <a:effectLst/>
      </p:bgPr>
    </p:bg>
    <p:spTree>
      <p:nvGrpSpPr>
        <p:cNvPr id="1" name="Shape 46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68" name="Google Shape;4668;p66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669" name="Google Shape;4669;p66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70" name="Google Shape;4670;p66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71" name="Google Shape;4671;p66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72" name="Google Shape;4672;p6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673" name="Google Shape;4673;p66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74" name="Google Shape;4674;p66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 3">
    <p:spTree>
      <p:nvGrpSpPr>
        <p:cNvPr id="1" name="Shape 4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76" name="Google Shape;4676;p66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677" name="Google Shape;4677;p66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678" name="Google Shape;4678;p66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679" name="Google Shape;4679;p66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80" name="Google Shape;4680;p66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681" name="Google Shape;4681;p66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682" name="Google Shape;4682;p6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0" name="Google Shape;490;p1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1" name="Google Shape;491;p10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92" name="Google Shape;492;p1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3" name="Google Shape;493;p1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4" name="Google Shape;494;p1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5" name="Google Shape;495;p1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6" name="Google Shape;496;p1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97" name="Google Shape;497;p10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8" name="Google Shape;498;p10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9" name="Google Shape;499;p1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0" name="Google Shape;500;p1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4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4" name="Google Shape;4684;p66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85" name="Google Shape;4685;p66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86" name="Google Shape;4686;p66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87" name="Google Shape;4687;p6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88" name="Google Shape;4688;p6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89" name="Google Shape;4689;p6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690" name="Google Shape;4690;p6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91" name="Google Shape;4691;p6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92" name="Google Shape;4692;p6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93" name="Google Shape;4693;p6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4" name="Google Shape;4694;p6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695" name="Google Shape;4695;p66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 2">
    <p:spTree>
      <p:nvGrpSpPr>
        <p:cNvPr id="1" name="Shape 4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97" name="Google Shape;4697;p6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98" name="Google Shape;4698;p6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99" name="Google Shape;4699;p6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00" name="Google Shape;4700;p6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1" name="Google Shape;4701;p6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702" name="Google Shape;4702;p66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03" name="Google Shape;4703;p66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04" name="Google Shape;4704;p6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05" name="Google Shape;4705;p6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06" name="Google Shape;4706;p6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 3">
    <p:spTree>
      <p:nvGrpSpPr>
        <p:cNvPr id="1" name="Shape 4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08" name="Google Shape;4708;p67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09" name="Google Shape;4709;p67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710" name="Google Shape;4710;p6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11" name="Google Shape;4711;p6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12" name="Google Shape;4712;p6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13" name="Google Shape;4713;p6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14" name="Google Shape;4714;p6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715" name="Google Shape;4715;p67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16" name="Google Shape;4716;p67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17" name="Google Shape;4717;p6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18" name="Google Shape;4718;p6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TWO_OBJECTS_WITH_TEXT 2">
    <p:spTree>
      <p:nvGrpSpPr>
        <p:cNvPr id="1" name="Shape 4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20" name="Google Shape;4720;p6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21" name="Google Shape;4721;p6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22" name="Google Shape;4722;p6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23" name="Google Shape;4723;p6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24" name="Google Shape;4724;p6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725" name="Google Shape;4725;p67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26" name="Google Shape;4726;p67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727" name="Google Shape;4727;p67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28" name="Google Shape;4728;p67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729" name="Google Shape;4729;p67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30" name="Google Shape;4730;p6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31" name="Google Shape;4731;p6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32" name="Google Shape;4732;p6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_ONLY 2">
    <p:spTree>
      <p:nvGrpSpPr>
        <p:cNvPr id="1" name="Shape 4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34" name="Google Shape;4734;p6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35" name="Google Shape;4735;p6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36" name="Google Shape;4736;p6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37" name="Google Shape;4737;p6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38" name="Google Shape;4738;p6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739" name="Google Shape;4739;p6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40" name="Google Shape;4740;p6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41" name="Google Shape;4741;p6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42" name="Google Shape;4742;p6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47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44" name="Google Shape;4744;p67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745" name="Google Shape;4745;p67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6" name="Google Shape;4746;p67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47" name="Google Shape;4747;p67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48" name="Google Shape;4748;p67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49" name="Google Shape;4749;p67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750" name="Google Shape;4750;p6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751" name="Google Shape;4751;p67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4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53" name="Google Shape;4753;p6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54" name="Google Shape;4754;p6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55" name="Google Shape;4755;p6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756" name="Google Shape;4756;p6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57" name="Google Shape;4757;p6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58" name="Google Shape;4758;p6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59" name="Google Shape;4759;p6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60" name="Google Shape;4760;p6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 4">
    <p:spTree>
      <p:nvGrpSpPr>
        <p:cNvPr id="1" name="Shape 47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62" name="Google Shape;4762;p67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63" name="Google Shape;4763;p67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64" name="Google Shape;4764;p67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65" name="Google Shape;4765;p6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66" name="Google Shape;4766;p6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67" name="Google Shape;4767;p6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768" name="Google Shape;4768;p6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69" name="Google Shape;4769;p6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70" name="Google Shape;4770;p6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71" name="Google Shape;4771;p6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72" name="Google Shape;4772;p6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773" name="Google Shape;4773;p67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 4">
    <p:spTree>
      <p:nvGrpSpPr>
        <p:cNvPr id="1" name="Shape 4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5" name="Google Shape;4775;p67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76" name="Google Shape;4776;p67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77" name="Google Shape;4777;p67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778" name="Google Shape;4778;p67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779" name="Google Shape;4779;p67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780" name="Google Shape;4780;p67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1" name="Google Shape;4781;p67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782" name="Google Shape;4782;p6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 3">
    <p:bg>
      <p:bgPr>
        <a:solidFill>
          <a:schemeClr val="lt2"/>
        </a:solidFill>
        <a:effectLst/>
      </p:bgPr>
    </p:bg>
    <p:spTree>
      <p:nvGrpSpPr>
        <p:cNvPr id="1" name="Shape 47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84" name="Google Shape;4784;p67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785" name="Google Shape;4785;p67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6" name="Google Shape;4786;p67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7" name="Google Shape;4787;p67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788" name="Google Shape;4788;p6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789" name="Google Shape;4789;p67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90" name="Google Shape;4790;p67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5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2" name="Google Shape;502;p1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3" name="Google Shape;503;p1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4" name="Google Shape;504;p1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5" name="Google Shape;505;p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07" name="Google Shape;507;p1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8" name="Google Shape;508;p10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09" name="Google Shape;509;p10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0" name="Google Shape;510;p10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11" name="Google Shape;511;p10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2" name="Google Shape;512;p1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3" name="Google Shape;513;p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4" name="Google Shape;514;p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 4">
    <p:spTree>
      <p:nvGrpSpPr>
        <p:cNvPr id="1" name="Shape 47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92" name="Google Shape;4792;p67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793" name="Google Shape;4793;p67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794" name="Google Shape;4794;p67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795" name="Google Shape;4795;p67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6" name="Google Shape;4796;p67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97" name="Google Shape;4797;p67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798" name="Google Shape;4798;p6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47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0" name="Google Shape;4800;p6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01" name="Google Shape;4801;p6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02" name="Google Shape;4802;p6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03" name="Google Shape;4803;p6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04" name="Google Shape;4804;p6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05" name="Google Shape;4805;p6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806" name="Google Shape;4806;p6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07" name="Google Shape;4807;p6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08" name="Google Shape;4808;p6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09" name="Google Shape;4809;p6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10" name="Google Shape;4810;p6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811" name="Google Shape;4811;p6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 3">
    <p:spTree>
      <p:nvGrpSpPr>
        <p:cNvPr id="1" name="Shape 4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13" name="Google Shape;4813;p6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14" name="Google Shape;4814;p6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15" name="Google Shape;4815;p6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16" name="Google Shape;4816;p6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17" name="Google Shape;4817;p6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18" name="Google Shape;4818;p6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19" name="Google Shape;4819;p68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20" name="Google Shape;4820;p6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21" name="Google Shape;4821;p6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22" name="Google Shape;4822;p6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 4">
    <p:spTree>
      <p:nvGrpSpPr>
        <p:cNvPr id="1" name="Shape 48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24" name="Google Shape;4824;p6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25" name="Google Shape;4825;p6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826" name="Google Shape;4826;p6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27" name="Google Shape;4827;p6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28" name="Google Shape;4828;p6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29" name="Google Shape;4829;p6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30" name="Google Shape;4830;p6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31" name="Google Shape;4831;p68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32" name="Google Shape;4832;p68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33" name="Google Shape;4833;p6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34" name="Google Shape;4834;p6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TWO_OBJECTS_WITH_TEXT 3">
    <p:spTree>
      <p:nvGrpSpPr>
        <p:cNvPr id="1" name="Shape 4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36" name="Google Shape;4836;p6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37" name="Google Shape;4837;p6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38" name="Google Shape;4838;p6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39" name="Google Shape;4839;p6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40" name="Google Shape;4840;p6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41" name="Google Shape;4841;p6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42" name="Google Shape;4842;p68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843" name="Google Shape;4843;p68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44" name="Google Shape;4844;p68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845" name="Google Shape;4845;p68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46" name="Google Shape;4846;p6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47" name="Google Shape;4847;p6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48" name="Google Shape;4848;p6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_ONLY 3">
    <p:spTree>
      <p:nvGrpSpPr>
        <p:cNvPr id="1" name="Shape 48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50" name="Google Shape;4850;p6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51" name="Google Shape;4851;p6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52" name="Google Shape;4852;p6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53" name="Google Shape;4853;p6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54" name="Google Shape;4854;p6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55" name="Google Shape;4855;p6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56" name="Google Shape;4856;p6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57" name="Google Shape;4857;p6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58" name="Google Shape;4858;p6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48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60" name="Google Shape;4860;p68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861" name="Google Shape;4861;p68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2" name="Google Shape;4862;p68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863" name="Google Shape;4863;p68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64" name="Google Shape;4864;p68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65" name="Google Shape;4865;p68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866" name="Google Shape;4866;p6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867" name="Google Shape;4867;p68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4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69" name="Google Shape;4869;p6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70" name="Google Shape;4870;p6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71" name="Google Shape;4871;p6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872" name="Google Shape;4872;p6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73" name="Google Shape;4873;p6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74" name="Google Shape;4874;p6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75" name="Google Shape;4875;p6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76" name="Google Shape;4876;p6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 5">
    <p:spTree>
      <p:nvGrpSpPr>
        <p:cNvPr id="1" name="Shape 4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78" name="Google Shape;4878;p68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79" name="Google Shape;4879;p68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80" name="Google Shape;4880;p68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81" name="Google Shape;4881;p6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82" name="Google Shape;4882;p6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83" name="Google Shape;4883;p6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884" name="Google Shape;4884;p6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85" name="Google Shape;4885;p6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86" name="Google Shape;4886;p6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87" name="Google Shape;4887;p6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88" name="Google Shape;4888;p6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889" name="Google Shape;4889;p68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48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91" name="Google Shape;4891;p68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92" name="Google Shape;4892;p68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93" name="Google Shape;4893;p68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894" name="Google Shape;4894;p68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895" name="Google Shape;4895;p68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896" name="Google Shape;4896;p6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7" name="Google Shape;4897;p68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898" name="Google Shape;4898;p6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5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6" name="Google Shape;516;p1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7" name="Google Shape;517;p1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8" name="Google Shape;518;p1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9" name="Google Shape;519;p1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0" name="Google Shape;520;p1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1" name="Google Shape;521;p1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2" name="Google Shape;522;p1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3" name="Google Shape;523;p1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4" name="Google Shape;524;p1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bg>
      <p:bgPr>
        <a:solidFill>
          <a:schemeClr val="lt2"/>
        </a:solidFill>
        <a:effectLst/>
      </p:bgPr>
    </p:bg>
    <p:spTree>
      <p:nvGrpSpPr>
        <p:cNvPr id="1" name="Shape 48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00" name="Google Shape;4900;p68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901" name="Google Shape;4901;p68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2" name="Google Shape;4902;p68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3" name="Google Shape;4903;p68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904" name="Google Shape;4904;p6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905" name="Google Shape;4905;p68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06" name="Google Shape;4906;p68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49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08" name="Google Shape;4908;p68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909" name="Google Shape;4909;p68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910" name="Google Shape;4910;p68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911" name="Google Shape;4911;p68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2" name="Google Shape;4912;p68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913" name="Google Shape;4913;p68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914" name="Google Shape;4914;p6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 2">
    <p:spTree>
      <p:nvGrpSpPr>
        <p:cNvPr id="1" name="Shape 49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6" name="Google Shape;4916;p6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17" name="Google Shape;4917;p6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18" name="Google Shape;4918;p6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19" name="Google Shape;4919;p6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20" name="Google Shape;4920;p6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21" name="Google Shape;4921;p6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922" name="Google Shape;4922;p6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23" name="Google Shape;4923;p6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24" name="Google Shape;4924;p6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25" name="Google Shape;4925;p6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26" name="Google Shape;4926;p6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927" name="Google Shape;4927;p69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 3">
    <p:spTree>
      <p:nvGrpSpPr>
        <p:cNvPr id="1" name="Shape 49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29" name="Google Shape;4929;p69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30" name="Google Shape;4930;p69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31" name="Google Shape;4931;p6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32" name="Google Shape;4932;p6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33" name="Google Shape;4933;p6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34" name="Google Shape;4934;p6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935" name="Google Shape;4935;p6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36" name="Google Shape;4936;p6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37" name="Google Shape;4937;p6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38" name="Google Shape;4938;p6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39" name="Google Shape;4939;p6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940" name="Google Shape;4940;p69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49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2" name="Google Shape;4942;p6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43" name="Google Shape;4943;p6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944" name="Google Shape;4944;p6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45" name="Google Shape;4945;p6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46" name="Google Shape;4946;p6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47" name="Google Shape;4947;p6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48" name="Google Shape;4948;p6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949" name="Google Shape;4949;p6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50" name="Google Shape;4950;p6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51" name="Google Shape;4951;p6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52" name="Google Shape;4952;p6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49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54" name="Google Shape;4954;p6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55" name="Google Shape;4955;p6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56" name="Google Shape;4956;p6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57" name="Google Shape;4957;p6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58" name="Google Shape;4958;p6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959" name="Google Shape;4959;p6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60" name="Google Shape;4960;p6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961" name="Google Shape;4961;p6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62" name="Google Shape;4962;p6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963" name="Google Shape;4963;p6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64" name="Google Shape;4964;p6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65" name="Google Shape;4965;p6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66" name="Google Shape;4966;p6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49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68" name="Google Shape;4968;p6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69" name="Google Shape;4969;p6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70" name="Google Shape;4970;p6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71" name="Google Shape;4971;p6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72" name="Google Shape;4972;p6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973" name="Google Shape;4973;p6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74" name="Google Shape;4974;p6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75" name="Google Shape;4975;p6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76" name="Google Shape;4976;p6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 2">
    <p:spTree>
      <p:nvGrpSpPr>
        <p:cNvPr id="1" name="Shape 49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78" name="Google Shape;4978;p6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979" name="Google Shape;4979;p6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0" name="Google Shape;4980;p6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981" name="Google Shape;4981;p6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82" name="Google Shape;4982;p6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83" name="Google Shape;4983;p6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984" name="Google Shape;4984;p6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985" name="Google Shape;4985;p6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49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7" name="Google Shape;4987;p69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88" name="Google Shape;4988;p69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89" name="Google Shape;4989;p69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90" name="Google Shape;4990;p6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91" name="Google Shape;4991;p6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92" name="Google Shape;4992;p6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993" name="Google Shape;4993;p6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94" name="Google Shape;4994;p6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95" name="Google Shape;4995;p6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96" name="Google Shape;4996;p6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97" name="Google Shape;4997;p6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998" name="Google Shape;4998;p69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4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00" name="Google Shape;5000;p69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01" name="Google Shape;5001;p69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02" name="Google Shape;5002;p69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03" name="Google Shape;5003;p6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04" name="Google Shape;5004;p6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05" name="Google Shape;5005;p6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006" name="Google Shape;5006;p6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07" name="Google Shape;5007;p6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08" name="Google Shape;5008;p6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09" name="Google Shape;5009;p6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10" name="Google Shape;5010;p6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11" name="Google Shape;5011;p69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oogle Shape;52;p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" name="Google Shape;53;p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" name="Google Shape;54;p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" name="Google Shape;55;p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" name="Google Shape;56;p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" name="Google Shape;57;p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5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" name="Google Shape;60;p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" name="Google Shape;61;p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6" name="Google Shape;526;p10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27" name="Google Shape;527;p10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" name="Google Shape;528;p10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29" name="Google Shape;529;p10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0" name="Google Shape;530;p10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1" name="Google Shape;531;p10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32" name="Google Shape;532;p1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33" name="Google Shape;533;p10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 2">
    <p:spTree>
      <p:nvGrpSpPr>
        <p:cNvPr id="1" name="Shape 50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3" name="Google Shape;5013;p69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14" name="Google Shape;5014;p69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15" name="Google Shape;5015;p69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016" name="Google Shape;5016;p69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017" name="Google Shape;5017;p69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018" name="Google Shape;5018;p6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19" name="Google Shape;5019;p69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020" name="Google Shape;5020;p6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 2">
    <p:bg>
      <p:bgPr>
        <a:solidFill>
          <a:schemeClr val="lt2"/>
        </a:solidFill>
        <a:effectLst/>
      </p:bgPr>
    </p:bg>
    <p:spTree>
      <p:nvGrpSpPr>
        <p:cNvPr id="1" name="Shape 5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22" name="Google Shape;5022;p69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023" name="Google Shape;5023;p69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24" name="Google Shape;5024;p69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25" name="Google Shape;5025;p69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026" name="Google Shape;5026;p6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027" name="Google Shape;5027;p69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28" name="Google Shape;5028;p69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 2">
    <p:spTree>
      <p:nvGrpSpPr>
        <p:cNvPr id="1" name="Shape 50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0" name="Google Shape;5030;p70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031" name="Google Shape;5031;p70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032" name="Google Shape;5032;p70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033" name="Google Shape;5033;p70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34" name="Google Shape;5034;p70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035" name="Google Shape;5035;p70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036" name="Google Shape;5036;p7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 4">
    <p:spTree>
      <p:nvGrpSpPr>
        <p:cNvPr id="1" name="Shape 50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8" name="Google Shape;5038;p7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39" name="Google Shape;5039;p7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40" name="Google Shape;5040;p7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41" name="Google Shape;5041;p7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42" name="Google Shape;5042;p7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43" name="Google Shape;5043;p7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044" name="Google Shape;5044;p7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45" name="Google Shape;5045;p7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46" name="Google Shape;5046;p7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47" name="Google Shape;5047;p7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8" name="Google Shape;5048;p7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49" name="Google Shape;5049;p7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 5">
    <p:spTree>
      <p:nvGrpSpPr>
        <p:cNvPr id="1" name="Shape 50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51" name="Google Shape;5051;p7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52" name="Google Shape;5052;p7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53" name="Google Shape;5053;p7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54" name="Google Shape;5054;p7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55" name="Google Shape;5055;p7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56" name="Google Shape;5056;p7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057" name="Google Shape;5057;p7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58" name="Google Shape;5058;p7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59" name="Google Shape;5059;p7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60" name="Google Shape;5060;p7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1" name="Google Shape;5061;p7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62" name="Google Shape;5062;p70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 6">
    <p:spTree>
      <p:nvGrpSpPr>
        <p:cNvPr id="1" name="Shape 50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64" name="Google Shape;5064;p70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65" name="Google Shape;5065;p70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66" name="Google Shape;5066;p70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67" name="Google Shape;5067;p7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68" name="Google Shape;5068;p7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69" name="Google Shape;5069;p7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070" name="Google Shape;5070;p7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71" name="Google Shape;5071;p7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72" name="Google Shape;5072;p7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73" name="Google Shape;5073;p7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4" name="Google Shape;5074;p7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75" name="Google Shape;5075;p70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 2">
    <p:spTree>
      <p:nvGrpSpPr>
        <p:cNvPr id="1" name="Shape 5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7" name="Google Shape;5077;p7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78" name="Google Shape;5078;p70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079" name="Google Shape;5079;p7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80" name="Google Shape;5080;p7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81" name="Google Shape;5081;p7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82" name="Google Shape;5082;p7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3" name="Google Shape;5083;p7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084" name="Google Shape;5084;p70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85" name="Google Shape;5085;p70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86" name="Google Shape;5086;p7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87" name="Google Shape;5087;p7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50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89" name="Google Shape;5089;p7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90" name="Google Shape;5090;p7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91" name="Google Shape;5091;p7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92" name="Google Shape;5092;p7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3" name="Google Shape;5093;p7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094" name="Google Shape;5094;p7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95" name="Google Shape;5095;p70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096" name="Google Shape;5096;p70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97" name="Google Shape;5097;p70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098" name="Google Shape;5098;p70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99" name="Google Shape;5099;p7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00" name="Google Shape;5100;p7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01" name="Google Shape;5101;p7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5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03" name="Google Shape;5103;p7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04" name="Google Shape;5104;p7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05" name="Google Shape;5105;p7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06" name="Google Shape;5106;p7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7" name="Google Shape;5107;p7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08" name="Google Shape;5108;p7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09" name="Google Shape;5109;p7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10" name="Google Shape;5110;p7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11" name="Google Shape;5111;p7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 3">
    <p:spTree>
      <p:nvGrpSpPr>
        <p:cNvPr id="1" name="Shape 5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13" name="Google Shape;5113;p70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114" name="Google Shape;5114;p70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15" name="Google Shape;5115;p70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116" name="Google Shape;5116;p70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17" name="Google Shape;5117;p70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18" name="Google Shape;5118;p70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119" name="Google Shape;5119;p7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120" name="Google Shape;5120;p7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5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5" name="Google Shape;535;p1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6" name="Google Shape;536;p1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7" name="Google Shape;537;p1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38" name="Google Shape;538;p1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9" name="Google Shape;539;p1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0" name="Google Shape;540;p1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1" name="Google Shape;541;p1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2" name="Google Shape;542;p1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5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Google Shape;5122;p70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23" name="Google Shape;5123;p70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24" name="Google Shape;5124;p70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25" name="Google Shape;5125;p7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26" name="Google Shape;5126;p7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27" name="Google Shape;5127;p7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128" name="Google Shape;5128;p7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29" name="Google Shape;5129;p7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30" name="Google Shape;5130;p7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31" name="Google Shape;5131;p7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2" name="Google Shape;5132;p7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33" name="Google Shape;5133;p70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5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5" name="Google Shape;5135;p70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36" name="Google Shape;5136;p70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37" name="Google Shape;5137;p70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38" name="Google Shape;5138;p70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39" name="Google Shape;5139;p7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40" name="Google Shape;5140;p7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141" name="Google Shape;5141;p7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42" name="Google Shape;5142;p7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43" name="Google Shape;5143;p7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44" name="Google Shape;5144;p7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45" name="Google Shape;5145;p7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46" name="Google Shape;5146;p70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5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48" name="Google Shape;5148;p71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49" name="Google Shape;5149;p71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50" name="Google Shape;5150;p71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51" name="Google Shape;5151;p7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52" name="Google Shape;5152;p7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53" name="Google Shape;5153;p7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154" name="Google Shape;5154;p7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55" name="Google Shape;5155;p7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56" name="Google Shape;5156;p7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57" name="Google Shape;5157;p7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58" name="Google Shape;5158;p7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59" name="Google Shape;5159;p71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5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61" name="Google Shape;5161;p7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62" name="Google Shape;5162;p7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63" name="Google Shape;5163;p7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64" name="Google Shape;5164;p7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65" name="Google Shape;5165;p7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66" name="Google Shape;5166;p7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167" name="Google Shape;5167;p7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68" name="Google Shape;5168;p7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69" name="Google Shape;5169;p7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70" name="Google Shape;5170;p7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71" name="Google Shape;5171;p7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72" name="Google Shape;5172;p71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4">
    <p:spTree>
      <p:nvGrpSpPr>
        <p:cNvPr id="1" name="Shape 5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4" name="Google Shape;5174;p7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75" name="Google Shape;5175;p7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76" name="Google Shape;5176;p7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77" name="Google Shape;5177;p7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78" name="Google Shape;5178;p7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79" name="Google Shape;5179;p7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180" name="Google Shape;5180;p7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81" name="Google Shape;5181;p7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82" name="Google Shape;5182;p7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83" name="Google Shape;5183;p7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84" name="Google Shape;5184;p7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85" name="Google Shape;5185;p7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4">
    <p:spTree>
      <p:nvGrpSpPr>
        <p:cNvPr id="1" name="Shape 5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7" name="Google Shape;5187;p7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88" name="Google Shape;5188;p7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89" name="Google Shape;5189;p7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90" name="Google Shape;5190;p7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91" name="Google Shape;5191;p7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92" name="Google Shape;5192;p7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193" name="Google Shape;5193;p7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94" name="Google Shape;5194;p7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95" name="Google Shape;5195;p7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96" name="Google Shape;5196;p7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97" name="Google Shape;5197;p7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98" name="Google Shape;5198;p7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5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00" name="Google Shape;5200;p71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01" name="Google Shape;5201;p71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02" name="Google Shape;5202;p71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203" name="Google Shape;5203;p71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204" name="Google Shape;5204;p71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205" name="Google Shape;5205;p7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06" name="Google Shape;5206;p71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207" name="Google Shape;5207;p7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bg>
      <p:bgPr>
        <a:solidFill>
          <a:schemeClr val="lt2"/>
        </a:solidFill>
        <a:effectLst/>
      </p:bgPr>
    </p:bg>
    <p:spTree>
      <p:nvGrpSpPr>
        <p:cNvPr id="1" name="Shape 5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09" name="Google Shape;5209;p71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210" name="Google Shape;5210;p71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11" name="Google Shape;5211;p7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12" name="Google Shape;5212;p71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213" name="Google Shape;5213;p7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214" name="Google Shape;5214;p71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15" name="Google Shape;5215;p71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5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7" name="Google Shape;5217;p71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218" name="Google Shape;5218;p71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219" name="Google Shape;5219;p71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220" name="Google Shape;5220;p71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1" name="Google Shape;5221;p71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222" name="Google Shape;5222;p71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223" name="Google Shape;5223;p7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 2">
    <p:spTree>
      <p:nvGrpSpPr>
        <p:cNvPr id="1" name="Shape 5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5" name="Google Shape;5225;p7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26" name="Google Shape;5226;p7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27" name="Google Shape;5227;p7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28" name="Google Shape;5228;p7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29" name="Google Shape;5229;p7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30" name="Google Shape;5230;p7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231" name="Google Shape;5231;p7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32" name="Google Shape;5232;p7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33" name="Google Shape;5233;p7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34" name="Google Shape;5234;p7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35" name="Google Shape;5235;p7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236" name="Google Shape;5236;p71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5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4" name="Google Shape;544;p107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5" name="Google Shape;545;p107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546" name="Google Shape;546;p107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547" name="Google Shape;547;p107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" name="Google Shape;548;p107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49" name="Google Shape;549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 3">
    <p:spTree>
      <p:nvGrpSpPr>
        <p:cNvPr id="1" name="Shape 5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38" name="Google Shape;5238;p7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39" name="Google Shape;5239;p7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40" name="Google Shape;5240;p7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41" name="Google Shape;5241;p7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42" name="Google Shape;5242;p7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43" name="Google Shape;5243;p7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244" name="Google Shape;5244;p7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45" name="Google Shape;5245;p7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46" name="Google Shape;5246;p7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47" name="Google Shape;5247;p7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48" name="Google Shape;5248;p7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249" name="Google Shape;5249;p7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 2">
    <p:spTree>
      <p:nvGrpSpPr>
        <p:cNvPr id="1" name="Shape 5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51" name="Google Shape;5251;p7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52" name="Google Shape;5252;p7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53" name="Google Shape;5253;p7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54" name="Google Shape;5254;p7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55" name="Google Shape;5255;p7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56" name="Google Shape;5256;p7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57" name="Google Shape;5257;p71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58" name="Google Shape;5258;p71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59" name="Google Shape;5259;p71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60" name="Google Shape;5260;p71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61" name="Google Shape;5261;p7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62" name="Google Shape;5262;p7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63" name="Google Shape;5263;p7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 2">
    <p:spTree>
      <p:nvGrpSpPr>
        <p:cNvPr id="1" name="Shape 5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65" name="Google Shape;5265;p7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66" name="Google Shape;5266;p7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67" name="Google Shape;5267;p7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68" name="Google Shape;5268;p7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69" name="Google Shape;5269;p7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70" name="Google Shape;5270;p7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71" name="Google Shape;5271;p7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72" name="Google Shape;5272;p7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73" name="Google Shape;5273;p7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 2">
    <p:spTree>
      <p:nvGrpSpPr>
        <p:cNvPr id="1" name="Shape 5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5" name="Google Shape;5275;p72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76" name="Google Shape;5276;p72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77" name="Google Shape;5277;p72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278" name="Google Shape;5278;p72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279" name="Google Shape;5279;p72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280" name="Google Shape;5280;p72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1" name="Google Shape;5281;p72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282" name="Google Shape;5282;p7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 2">
    <p:bg>
      <p:bgPr>
        <a:solidFill>
          <a:schemeClr val="lt2"/>
        </a:solidFill>
        <a:effectLst/>
      </p:bgPr>
    </p:bg>
    <p:spTree>
      <p:nvGrpSpPr>
        <p:cNvPr id="1" name="Shape 5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4" name="Google Shape;5284;p72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285" name="Google Shape;5285;p72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6" name="Google Shape;5286;p72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7" name="Google Shape;5287;p72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288" name="Google Shape;5288;p7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289" name="Google Shape;5289;p72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90" name="Google Shape;5290;p72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 2">
    <p:spTree>
      <p:nvGrpSpPr>
        <p:cNvPr id="1" name="Shape 5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92" name="Google Shape;5292;p72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293" name="Google Shape;5293;p72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294" name="Google Shape;5294;p72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295" name="Google Shape;5295;p72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96" name="Google Shape;5296;p72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297" name="Google Shape;5297;p72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298" name="Google Shape;5298;p7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 4">
    <p:spTree>
      <p:nvGrpSpPr>
        <p:cNvPr id="1" name="Shape 5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0" name="Google Shape;5300;p72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01" name="Google Shape;5301;p72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02" name="Google Shape;5302;p72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03" name="Google Shape;5303;p7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04" name="Google Shape;5304;p7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05" name="Google Shape;5305;p7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306" name="Google Shape;5306;p7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07" name="Google Shape;5307;p7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08" name="Google Shape;5308;p7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09" name="Google Shape;5309;p7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10" name="Google Shape;5310;p7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311" name="Google Shape;5311;p72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 5">
    <p:spTree>
      <p:nvGrpSpPr>
        <p:cNvPr id="1" name="Shape 5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13" name="Google Shape;5313;p72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14" name="Google Shape;5314;p72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15" name="Google Shape;5315;p72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16" name="Google Shape;5316;p7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17" name="Google Shape;5317;p7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18" name="Google Shape;5318;p7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319" name="Google Shape;5319;p7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20" name="Google Shape;5320;p7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21" name="Google Shape;5321;p7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22" name="Google Shape;5322;p7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23" name="Google Shape;5323;p7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324" name="Google Shape;5324;p72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 6">
    <p:spTree>
      <p:nvGrpSpPr>
        <p:cNvPr id="1" name="Shape 53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6" name="Google Shape;5326;p72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27" name="Google Shape;5327;p72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28" name="Google Shape;5328;p72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29" name="Google Shape;5329;p7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30" name="Google Shape;5330;p7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31" name="Google Shape;5331;p7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332" name="Google Shape;5332;p7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33" name="Google Shape;5333;p7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34" name="Google Shape;5334;p7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35" name="Google Shape;5335;p7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36" name="Google Shape;5336;p7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337" name="Google Shape;5337;p72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 3">
    <p:spTree>
      <p:nvGrpSpPr>
        <p:cNvPr id="1" name="Shape 5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39" name="Google Shape;5339;p7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40" name="Google Shape;5340;p7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41" name="Google Shape;5341;p7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42" name="Google Shape;5342;p7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43" name="Google Shape;5343;p7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44" name="Google Shape;5344;p7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45" name="Google Shape;5345;p72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346" name="Google Shape;5346;p72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47" name="Google Shape;5347;p72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348" name="Google Shape;5348;p72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49" name="Google Shape;5349;p7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50" name="Google Shape;5350;p7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51" name="Google Shape;5351;p7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bg>
      <p:bgPr>
        <a:solidFill>
          <a:schemeClr val="lt2"/>
        </a:solidFill>
        <a:effectLst/>
      </p:bgPr>
    </p:bg>
    <p:spTree>
      <p:nvGrpSpPr>
        <p:cNvPr id="1" name="Shape 5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1" name="Google Shape;551;p10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52" name="Google Shape;552;p10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3" name="Google Shape;553;p10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4" name="Google Shape;554;p10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55" name="Google Shape;555;p1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56" name="Google Shape;556;p10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7" name="Google Shape;557;p10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 3">
    <p:spTree>
      <p:nvGrpSpPr>
        <p:cNvPr id="1" name="Shape 53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53" name="Google Shape;5353;p7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54" name="Google Shape;5354;p7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55" name="Google Shape;5355;p7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56" name="Google Shape;5356;p7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57" name="Google Shape;5357;p7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58" name="Google Shape;5358;p7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59" name="Google Shape;5359;p7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60" name="Google Shape;5360;p7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61" name="Google Shape;5361;p7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5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3" name="Google Shape;5363;p72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64" name="Google Shape;5364;p72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65" name="Google Shape;5365;p72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366" name="Google Shape;5366;p72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367" name="Google Shape;5367;p72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368" name="Google Shape;5368;p7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69" name="Google Shape;5369;p72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370" name="Google Shape;5370;p7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53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72" name="Google Shape;5372;p73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373" name="Google Shape;5373;p73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74" name="Google Shape;5374;p73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75" name="Google Shape;5375;p73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376" name="Google Shape;5376;p7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377" name="Google Shape;5377;p73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78" name="Google Shape;5378;p73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5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0" name="Google Shape;5380;p73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381" name="Google Shape;5381;p73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382" name="Google Shape;5382;p73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383" name="Google Shape;5383;p73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84" name="Google Shape;5384;p73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385" name="Google Shape;5385;p73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386" name="Google Shape;5386;p7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5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8" name="Google Shape;5388;p73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89" name="Google Shape;5389;p73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90" name="Google Shape;5390;p73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91" name="Google Shape;5391;p7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92" name="Google Shape;5392;p7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93" name="Google Shape;5393;p7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394" name="Google Shape;5394;p7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95" name="Google Shape;5395;p7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96" name="Google Shape;5396;p7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97" name="Google Shape;5397;p7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98" name="Google Shape;5398;p7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399" name="Google Shape;5399;p73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5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01" name="Google Shape;5401;p73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02" name="Google Shape;5402;p73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03" name="Google Shape;5403;p73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04" name="Google Shape;5404;p7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05" name="Google Shape;5405;p7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06" name="Google Shape;5406;p7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407" name="Google Shape;5407;p7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08" name="Google Shape;5408;p7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09" name="Google Shape;5409;p7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10" name="Google Shape;5410;p7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11" name="Google Shape;5411;p7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412" name="Google Shape;5412;p73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5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14" name="Google Shape;5414;p7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15" name="Google Shape;5415;p73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416" name="Google Shape;5416;p7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17" name="Google Shape;5417;p7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18" name="Google Shape;5418;p7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19" name="Google Shape;5419;p7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20" name="Google Shape;5420;p7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421" name="Google Shape;5421;p73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22" name="Google Shape;5422;p73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23" name="Google Shape;5423;p7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24" name="Google Shape;5424;p7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5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26" name="Google Shape;5426;p7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27" name="Google Shape;5427;p7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28" name="Google Shape;5428;p7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29" name="Google Shape;5429;p7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30" name="Google Shape;5430;p7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431" name="Google Shape;5431;p7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32" name="Google Shape;5432;p73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433" name="Google Shape;5433;p73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34" name="Google Shape;5434;p73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435" name="Google Shape;5435;p73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36" name="Google Shape;5436;p7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37" name="Google Shape;5437;p7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38" name="Google Shape;5438;p7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5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40" name="Google Shape;5440;p7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41" name="Google Shape;5441;p7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42" name="Google Shape;5442;p7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43" name="Google Shape;5443;p7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44" name="Google Shape;5444;p7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445" name="Google Shape;5445;p7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46" name="Google Shape;5446;p7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47" name="Google Shape;5447;p7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48" name="Google Shape;5448;p7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 2">
    <p:spTree>
      <p:nvGrpSpPr>
        <p:cNvPr id="1" name="Shape 5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50" name="Google Shape;5450;p73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451" name="Google Shape;5451;p73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2" name="Google Shape;5452;p73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453" name="Google Shape;5453;p73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54" name="Google Shape;5454;p73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55" name="Google Shape;5455;p73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456" name="Google Shape;5456;p7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457" name="Google Shape;5457;p73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" name="Google Shape;559;p10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60" name="Google Shape;560;p10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61" name="Google Shape;561;p10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62" name="Google Shape;562;p10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3" name="Google Shape;563;p10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64" name="Google Shape;564;p10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65" name="Google Shape;565;p1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 2">
    <p:spTree>
      <p:nvGrpSpPr>
        <p:cNvPr id="1" name="Shape 54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59" name="Google Shape;5459;p7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60" name="Google Shape;5460;p7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61" name="Google Shape;5461;p7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462" name="Google Shape;5462;p7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63" name="Google Shape;5463;p7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64" name="Google Shape;5464;p7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65" name="Google Shape;5465;p7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66" name="Google Shape;5466;p7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5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68" name="Google Shape;5468;p739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69" name="Google Shape;5469;p739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5470" name="Google Shape;5470;p739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5471" name="Google Shape;5471;p739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72" name="Google Shape;5472;p739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473" name="Google Shape;5473;p7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 2">
    <p:spTree>
      <p:nvGrpSpPr>
        <p:cNvPr id="1" name="Shape 5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75" name="Google Shape;5475;p74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76" name="Google Shape;5476;p74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77" name="Google Shape;5477;p74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478" name="Google Shape;5478;p74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479" name="Google Shape;5479;p74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480" name="Google Shape;5480;p74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1" name="Google Shape;5481;p74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482" name="Google Shape;5482;p7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 2">
    <p:bg>
      <p:bgPr>
        <a:solidFill>
          <a:schemeClr val="lt2"/>
        </a:solidFill>
        <a:effectLst/>
      </p:bgPr>
    </p:bg>
    <p:spTree>
      <p:nvGrpSpPr>
        <p:cNvPr id="1" name="Shape 5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84" name="Google Shape;5484;p74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485" name="Google Shape;5485;p74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6" name="Google Shape;5486;p74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7" name="Google Shape;5487;p74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488" name="Google Shape;5488;p7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489" name="Google Shape;5489;p74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90" name="Google Shape;5490;p74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 2">
    <p:spTree>
      <p:nvGrpSpPr>
        <p:cNvPr id="1" name="Shape 54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2" name="Google Shape;5492;p74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493" name="Google Shape;5493;p74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494" name="Google Shape;5494;p74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495" name="Google Shape;5495;p74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96" name="Google Shape;5496;p74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497" name="Google Shape;5497;p74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498" name="Google Shape;5498;p7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 2">
    <p:spTree>
      <p:nvGrpSpPr>
        <p:cNvPr id="1" name="Shape 5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00" name="Google Shape;5500;p74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01" name="Google Shape;5501;p74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02" name="Google Shape;5502;p74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03" name="Google Shape;5503;p7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04" name="Google Shape;5504;p7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05" name="Google Shape;5505;p7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506" name="Google Shape;5506;p7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07" name="Google Shape;5507;p7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08" name="Google Shape;5508;p7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09" name="Google Shape;5509;p7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10" name="Google Shape;5510;p7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511" name="Google Shape;5511;p74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 2">
    <p:spTree>
      <p:nvGrpSpPr>
        <p:cNvPr id="1" name="Shape 5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13" name="Google Shape;5513;p7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14" name="Google Shape;5514;p7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15" name="Google Shape;5515;p7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16" name="Google Shape;5516;p7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17" name="Google Shape;5517;p7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18" name="Google Shape;5518;p7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519" name="Google Shape;5519;p7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20" name="Google Shape;5520;p7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21" name="Google Shape;5521;p7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22" name="Google Shape;5522;p7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23" name="Google Shape;5523;p7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524" name="Google Shape;5524;p74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 2">
    <p:spTree>
      <p:nvGrpSpPr>
        <p:cNvPr id="1" name="Shape 5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6" name="Google Shape;5526;p7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27" name="Google Shape;5527;p7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528" name="Google Shape;5528;p7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29" name="Google Shape;5529;p7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30" name="Google Shape;5530;p7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31" name="Google Shape;5531;p7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32" name="Google Shape;5532;p7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533" name="Google Shape;5533;p74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34" name="Google Shape;5534;p74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35" name="Google Shape;5535;p7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36" name="Google Shape;5536;p7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 2">
    <p:spTree>
      <p:nvGrpSpPr>
        <p:cNvPr id="1" name="Shape 55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38" name="Google Shape;5538;p7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39" name="Google Shape;5539;p7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40" name="Google Shape;5540;p7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41" name="Google Shape;5541;p7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42" name="Google Shape;5542;p7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543" name="Google Shape;5543;p7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44" name="Google Shape;5544;p74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45" name="Google Shape;5545;p74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46" name="Google Shape;5546;p74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47" name="Google Shape;5547;p74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48" name="Google Shape;5548;p7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49" name="Google Shape;5549;p7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50" name="Google Shape;5550;p7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 2">
    <p:spTree>
      <p:nvGrpSpPr>
        <p:cNvPr id="1" name="Shape 5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52" name="Google Shape;5552;p7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53" name="Google Shape;5553;p7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54" name="Google Shape;5554;p7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55" name="Google Shape;5555;p7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56" name="Google Shape;5556;p7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557" name="Google Shape;5557;p7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58" name="Google Shape;5558;p7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59" name="Google Shape;5559;p7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60" name="Google Shape;5560;p7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5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7" name="Google Shape;567;p11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8" name="Google Shape;568;p11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9" name="Google Shape;569;p11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70" name="Google Shape;570;p11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71" name="Google Shape;571;p11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72" name="Google Shape;572;p11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3" name="Google Shape;573;p11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74" name="Google Shape;574;p1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 3">
    <p:spTree>
      <p:nvGrpSpPr>
        <p:cNvPr id="1" name="Shape 55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62" name="Google Shape;5562;p74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563" name="Google Shape;5563;p74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64" name="Google Shape;5564;p74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565" name="Google Shape;5565;p74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66" name="Google Shape;5566;p74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67" name="Google Shape;5567;p74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568" name="Google Shape;5568;p7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569" name="Google Shape;5569;p74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 3">
    <p:spTree>
      <p:nvGrpSpPr>
        <p:cNvPr id="1" name="Shape 5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71" name="Google Shape;5571;p7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72" name="Google Shape;5572;p7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73" name="Google Shape;5573;p7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574" name="Google Shape;5574;p7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75" name="Google Shape;5575;p7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76" name="Google Shape;5576;p7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77" name="Google Shape;5577;p7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78" name="Google Shape;5578;p7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 3">
    <p:spTree>
      <p:nvGrpSpPr>
        <p:cNvPr id="1" name="Shape 55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80" name="Google Shape;5580;p75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81" name="Google Shape;5581;p75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82" name="Google Shape;5582;p75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583" name="Google Shape;5583;p75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584" name="Google Shape;5584;p75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585" name="Google Shape;5585;p75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86" name="Google Shape;5586;p75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587" name="Google Shape;5587;p7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 3">
    <p:bg>
      <p:bgPr>
        <a:solidFill>
          <a:schemeClr val="lt2"/>
        </a:solidFill>
        <a:effectLst/>
      </p:bgPr>
    </p:bg>
    <p:spTree>
      <p:nvGrpSpPr>
        <p:cNvPr id="1" name="Shape 55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89" name="Google Shape;5589;p75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590" name="Google Shape;5590;p75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91" name="Google Shape;5591;p75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92" name="Google Shape;5592;p75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593" name="Google Shape;5593;p7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594" name="Google Shape;5594;p75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95" name="Google Shape;5595;p75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 3">
    <p:spTree>
      <p:nvGrpSpPr>
        <p:cNvPr id="1" name="Shape 5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7" name="Google Shape;5597;p75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598" name="Google Shape;5598;p75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599" name="Google Shape;5599;p75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600" name="Google Shape;5600;p75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01" name="Google Shape;5601;p75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602" name="Google Shape;5602;p75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603" name="Google Shape;5603;p7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 3">
    <p:spTree>
      <p:nvGrpSpPr>
        <p:cNvPr id="1" name="Shape 5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5" name="Google Shape;5605;p75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06" name="Google Shape;5606;p75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07" name="Google Shape;5607;p75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08" name="Google Shape;5608;p7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09" name="Google Shape;5609;p7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10" name="Google Shape;5610;p7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611" name="Google Shape;5611;p7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12" name="Google Shape;5612;p7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13" name="Google Shape;5613;p7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14" name="Google Shape;5614;p7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15" name="Google Shape;5615;p7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616" name="Google Shape;5616;p75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 3">
    <p:spTree>
      <p:nvGrpSpPr>
        <p:cNvPr id="1" name="Shape 56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18" name="Google Shape;5618;p75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19" name="Google Shape;5619;p75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20" name="Google Shape;5620;p75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21" name="Google Shape;5621;p7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22" name="Google Shape;5622;p7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23" name="Google Shape;5623;p7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624" name="Google Shape;5624;p7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25" name="Google Shape;5625;p7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26" name="Google Shape;5626;p7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27" name="Google Shape;5627;p7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28" name="Google Shape;5628;p7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629" name="Google Shape;5629;p75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 3">
    <p:spTree>
      <p:nvGrpSpPr>
        <p:cNvPr id="1" name="Shape 5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1" name="Google Shape;5631;p7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32" name="Google Shape;5632;p75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633" name="Google Shape;5633;p7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34" name="Google Shape;5634;p7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35" name="Google Shape;5635;p7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36" name="Google Shape;5636;p7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37" name="Google Shape;5637;p7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638" name="Google Shape;5638;p75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39" name="Google Shape;5639;p75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40" name="Google Shape;5640;p7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41" name="Google Shape;5641;p7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 3">
    <p:spTree>
      <p:nvGrpSpPr>
        <p:cNvPr id="1" name="Shape 5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43" name="Google Shape;5643;p7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44" name="Google Shape;5644;p7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45" name="Google Shape;5645;p7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46" name="Google Shape;5646;p7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47" name="Google Shape;5647;p7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648" name="Google Shape;5648;p7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49" name="Google Shape;5649;p75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650" name="Google Shape;5650;p75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51" name="Google Shape;5651;p75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652" name="Google Shape;5652;p75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53" name="Google Shape;5653;p7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54" name="Google Shape;5654;p7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55" name="Google Shape;5655;p7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 3">
    <p:spTree>
      <p:nvGrpSpPr>
        <p:cNvPr id="1" name="Shape 5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57" name="Google Shape;5657;p7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58" name="Google Shape;5658;p7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59" name="Google Shape;5659;p7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60" name="Google Shape;5660;p7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61" name="Google Shape;5661;p7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662" name="Google Shape;5662;p7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63" name="Google Shape;5663;p7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64" name="Google Shape;5664;p7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65" name="Google Shape;5665;p7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5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6" name="Google Shape;576;p1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7" name="Google Shape;577;p1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8" name="Google Shape;578;p1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9" name="Google Shape;579;p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0" name="Google Shape;580;p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81" name="Google Shape;581;p1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2" name="Google Shape;582;p11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3" name="Google Shape;583;p1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4" name="Google Shape;584;p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5" name="Google Shape;585;p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 4">
    <p:spTree>
      <p:nvGrpSpPr>
        <p:cNvPr id="1" name="Shape 5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67" name="Google Shape;5667;p75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668" name="Google Shape;5668;p75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69" name="Google Shape;5669;p75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670" name="Google Shape;5670;p75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71" name="Google Shape;5671;p75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72" name="Google Shape;5672;p75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673" name="Google Shape;5673;p7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674" name="Google Shape;5674;p75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 4">
    <p:spTree>
      <p:nvGrpSpPr>
        <p:cNvPr id="1" name="Shape 5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76" name="Google Shape;5676;p7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77" name="Google Shape;5677;p7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78" name="Google Shape;5678;p7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679" name="Google Shape;5679;p7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80" name="Google Shape;5680;p7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81" name="Google Shape;5681;p7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82" name="Google Shape;5682;p7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83" name="Google Shape;5683;p7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bg>
      <p:bgPr>
        <a:solidFill>
          <a:schemeClr val="lt2"/>
        </a:solidFill>
        <a:effectLst/>
      </p:bgPr>
    </p:bg>
    <p:spTree>
      <p:nvGrpSpPr>
        <p:cNvPr id="1" name="Shape 5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85" name="Google Shape;5685;p76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686" name="Google Shape;5686;p76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87" name="Google Shape;5687;p7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88" name="Google Shape;5688;p76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689" name="Google Shape;5689;p7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690" name="Google Shape;5690;p76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91" name="Google Shape;5691;p76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56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93" name="Google Shape;5693;p76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694" name="Google Shape;5694;p76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695" name="Google Shape;5695;p76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696" name="Google Shape;5696;p76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97" name="Google Shape;5697;p76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698" name="Google Shape;5698;p76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699" name="Google Shape;5699;p7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57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01" name="Google Shape;5701;p76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02" name="Google Shape;5702;p76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03" name="Google Shape;5703;p76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704" name="Google Shape;5704;p76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705" name="Google Shape;5705;p76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706" name="Google Shape;5706;p76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07" name="Google Shape;5707;p76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708" name="Google Shape;5708;p7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5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10" name="Google Shape;5710;p7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11" name="Google Shape;5711;p7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12" name="Google Shape;5712;p7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13" name="Google Shape;5713;p7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14" name="Google Shape;5714;p7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15" name="Google Shape;5715;p76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16" name="Google Shape;5716;p76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17" name="Google Shape;5717;p7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18" name="Google Shape;5718;p7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19" name="Google Shape;5719;p7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5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1" name="Google Shape;5721;p7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22" name="Google Shape;5722;p76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723" name="Google Shape;5723;p7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24" name="Google Shape;5724;p7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25" name="Google Shape;5725;p7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26" name="Google Shape;5726;p7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27" name="Google Shape;5727;p7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28" name="Google Shape;5728;p76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29" name="Google Shape;5729;p76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30" name="Google Shape;5730;p7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31" name="Google Shape;5731;p7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5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33" name="Google Shape;5733;p7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34" name="Google Shape;5734;p7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35" name="Google Shape;5735;p7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36" name="Google Shape;5736;p7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37" name="Google Shape;5737;p7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38" name="Google Shape;5738;p7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39" name="Google Shape;5739;p76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740" name="Google Shape;5740;p76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41" name="Google Shape;5741;p76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742" name="Google Shape;5742;p76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43" name="Google Shape;5743;p7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44" name="Google Shape;5744;p7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45" name="Google Shape;5745;p7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5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47" name="Google Shape;5747;p7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48" name="Google Shape;5748;p7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49" name="Google Shape;5749;p7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50" name="Google Shape;5750;p7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51" name="Google Shape;5751;p7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52" name="Google Shape;5752;p7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753" name="Google Shape;5753;p7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54" name="Google Shape;5754;p7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55" name="Google Shape;5755;p7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56" name="Google Shape;5756;p7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57" name="Google Shape;5757;p7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758" name="Google Shape;5758;p76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 2">
    <p:spTree>
      <p:nvGrpSpPr>
        <p:cNvPr id="1" name="Shape 57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60" name="Google Shape;5760;p76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61" name="Google Shape;5761;p76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62" name="Google Shape;5762;p76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63" name="Google Shape;5763;p7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64" name="Google Shape;5764;p7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65" name="Google Shape;5765;p7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766" name="Google Shape;5766;p7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67" name="Google Shape;5767;p7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68" name="Google Shape;5768;p7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69" name="Google Shape;5769;p7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70" name="Google Shape;5770;p7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771" name="Google Shape;5771;p76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1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8" name="Google Shape;588;p1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89" name="Google Shape;589;p1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0" name="Google Shape;590;p1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1" name="Google Shape;591;p1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2" name="Google Shape;592;p1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3" name="Google Shape;593;p1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4" name="Google Shape;594;p11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5" name="Google Shape;595;p11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6" name="Google Shape;596;p1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7" name="Google Shape;597;p1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57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73" name="Google Shape;5773;p76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774" name="Google Shape;5774;p76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75" name="Google Shape;5775;p76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776" name="Google Shape;5776;p76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77" name="Google Shape;5777;p76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78" name="Google Shape;5778;p76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779" name="Google Shape;5779;p7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780" name="Google Shape;5780;p76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57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82" name="Google Shape;5782;p7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83" name="Google Shape;5783;p7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84" name="Google Shape;5784;p7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85" name="Google Shape;5785;p7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86" name="Google Shape;5786;p7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87" name="Google Shape;5787;p76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88" name="Google Shape;5788;p7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89" name="Google Shape;5789;p7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90" name="Google Shape;5790;p7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57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92" name="Google Shape;5792;p77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793" name="Google Shape;5793;p77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94" name="Google Shape;5794;p77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795" name="Google Shape;5795;p77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96" name="Google Shape;5796;p77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97" name="Google Shape;5797;p77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798" name="Google Shape;5798;p7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799" name="Google Shape;5799;p77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 2">
    <p:spTree>
      <p:nvGrpSpPr>
        <p:cNvPr id="1" name="Shape 5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01" name="Google Shape;5801;p7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02" name="Google Shape;5802;p7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03" name="Google Shape;5803;p7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804" name="Google Shape;5804;p7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05" name="Google Shape;5805;p7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06" name="Google Shape;5806;p7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07" name="Google Shape;5807;p7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08" name="Google Shape;5808;p7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58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10" name="Google Shape;5810;p7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11" name="Google Shape;5811;p7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12" name="Google Shape;5812;p7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13" name="Google Shape;5813;p7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14" name="Google Shape;5814;p7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15" name="Google Shape;5815;p7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816" name="Google Shape;5816;p7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17" name="Google Shape;5817;p7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18" name="Google Shape;5818;p7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19" name="Google Shape;5819;p7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20" name="Google Shape;5820;p7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821" name="Google Shape;5821;p77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 2">
    <p:spTree>
      <p:nvGrpSpPr>
        <p:cNvPr id="1" name="Shape 5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23" name="Google Shape;5823;p77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24" name="Google Shape;5824;p77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25" name="Google Shape;5825;p77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26" name="Google Shape;5826;p7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27" name="Google Shape;5827;p7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28" name="Google Shape;5828;p7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829" name="Google Shape;5829;p7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30" name="Google Shape;5830;p7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31" name="Google Shape;5831;p7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32" name="Google Shape;5832;p7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33" name="Google Shape;5833;p7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834" name="Google Shape;5834;p77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5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" name="Google Shape;5836;p77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37" name="Google Shape;5837;p77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38" name="Google Shape;5838;p77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839" name="Google Shape;5839;p77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840" name="Google Shape;5840;p77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841" name="Google Shape;5841;p77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2" name="Google Shape;5842;p77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843" name="Google Shape;5843;p7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bg>
      <p:bgPr>
        <a:solidFill>
          <a:schemeClr val="lt2"/>
        </a:solidFill>
        <a:effectLst/>
      </p:bgPr>
    </p:bg>
    <p:spTree>
      <p:nvGrpSpPr>
        <p:cNvPr id="1" name="Shape 5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45" name="Google Shape;5845;p77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846" name="Google Shape;5846;p7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7" name="Google Shape;5847;p7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8" name="Google Shape;5848;p7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849" name="Google Shape;5849;p7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850" name="Google Shape;5850;p77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51" name="Google Shape;5851;p77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58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53" name="Google Shape;5853;p77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854" name="Google Shape;5854;p77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855" name="Google Shape;5855;p77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856" name="Google Shape;5856;p77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57" name="Google Shape;5857;p77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858" name="Google Shape;5858;p77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859" name="Google Shape;5859;p77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58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61" name="Google Shape;5861;p77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62" name="Google Shape;5862;p77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63" name="Google Shape;5863;p77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64" name="Google Shape;5864;p7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65" name="Google Shape;5865;p7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66" name="Google Shape;5866;p7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867" name="Google Shape;5867;p7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68" name="Google Shape;5868;p7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69" name="Google Shape;5869;p7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70" name="Google Shape;5870;p7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71" name="Google Shape;5871;p7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872" name="Google Shape;5872;p77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5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9" name="Google Shape;599;p1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0" name="Google Shape;600;p1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1" name="Google Shape;601;p1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2" name="Google Shape;602;p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3" name="Google Shape;603;p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4" name="Google Shape;604;p1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5" name="Google Shape;605;p11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06" name="Google Shape;606;p11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7" name="Google Shape;607;p11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08" name="Google Shape;608;p11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9" name="Google Shape;609;p1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0" name="Google Shape;610;p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1" name="Google Shape;611;p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58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4" name="Google Shape;5874;p77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75" name="Google Shape;5875;p7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76" name="Google Shape;5876;p7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77" name="Google Shape;5877;p7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78" name="Google Shape;5878;p7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79" name="Google Shape;5879;p7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880" name="Google Shape;5880;p7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81" name="Google Shape;5881;p7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82" name="Google Shape;5882;p7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83" name="Google Shape;5883;p7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84" name="Google Shape;5884;p7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885" name="Google Shape;5885;p77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 2">
    <p:spTree>
      <p:nvGrpSpPr>
        <p:cNvPr id="1" name="Shape 5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87" name="Google Shape;5887;p7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88" name="Google Shape;5888;p7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89" name="Google Shape;5889;p7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90" name="Google Shape;5890;p7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91" name="Google Shape;5891;p7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92" name="Google Shape;5892;p7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893" name="Google Shape;5893;p7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94" name="Google Shape;5894;p7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95" name="Google Shape;5895;p7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96" name="Google Shape;5896;p7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97" name="Google Shape;5897;p7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898" name="Google Shape;5898;p7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 2">
    <p:spTree>
      <p:nvGrpSpPr>
        <p:cNvPr id="1" name="Shape 58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00" name="Google Shape;5900;p78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01" name="Google Shape;5901;p7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02" name="Google Shape;5902;p7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03" name="Google Shape;5903;p7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04" name="Google Shape;5904;p7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05" name="Google Shape;5905;p7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906" name="Google Shape;5906;p7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07" name="Google Shape;5907;p7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08" name="Google Shape;5908;p7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09" name="Google Shape;5909;p7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10" name="Google Shape;5910;p7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911" name="Google Shape;5911;p78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59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13" name="Google Shape;5913;p7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14" name="Google Shape;5914;p7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15" name="Google Shape;5915;p7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16" name="Google Shape;5916;p7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17" name="Google Shape;5917;p7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18" name="Google Shape;5918;p7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19" name="Google Shape;5919;p7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20" name="Google Shape;5920;p7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21" name="Google Shape;5921;p7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22" name="Google Shape;5922;p7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59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24" name="Google Shape;5924;p7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25" name="Google Shape;5925;p78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926" name="Google Shape;5926;p7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27" name="Google Shape;5927;p7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28" name="Google Shape;5928;p7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29" name="Google Shape;5929;p7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30" name="Google Shape;5930;p7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31" name="Google Shape;5931;p78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32" name="Google Shape;5932;p78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33" name="Google Shape;5933;p7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34" name="Google Shape;5934;p7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59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36" name="Google Shape;5936;p7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37" name="Google Shape;5937;p7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38" name="Google Shape;5938;p7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39" name="Google Shape;5939;p7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40" name="Google Shape;5940;p7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41" name="Google Shape;5941;p7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42" name="Google Shape;5942;p78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943" name="Google Shape;5943;p78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44" name="Google Shape;5944;p78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945" name="Google Shape;5945;p78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46" name="Google Shape;5946;p7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47" name="Google Shape;5947;p7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48" name="Google Shape;5948;p7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5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50" name="Google Shape;5950;p7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51" name="Google Shape;5951;p7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52" name="Google Shape;5952;p7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53" name="Google Shape;5953;p7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54" name="Google Shape;5954;p7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55" name="Google Shape;5955;p78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56" name="Google Shape;5956;p7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57" name="Google Shape;5957;p7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58" name="Google Shape;5958;p7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59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60" name="Google Shape;5960;p78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961" name="Google Shape;5961;p78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62" name="Google Shape;5962;p78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963" name="Google Shape;5963;p78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64" name="Google Shape;5964;p78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65" name="Google Shape;5965;p78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966" name="Google Shape;5966;p7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967" name="Google Shape;5967;p78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59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69" name="Google Shape;5969;p7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70" name="Google Shape;5970;p7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71" name="Google Shape;5971;p7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972" name="Google Shape;5972;p7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73" name="Google Shape;5973;p7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74" name="Google Shape;5974;p7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75" name="Google Shape;5975;p7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76" name="Google Shape;5976;p7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59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8" name="Google Shape;5978;p78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79" name="Google Shape;5979;p78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80" name="Google Shape;5980;p78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981" name="Google Shape;5981;p78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982" name="Google Shape;5982;p78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983" name="Google Shape;5983;p7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84" name="Google Shape;5984;p78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985" name="Google Shape;5985;p7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3" name="Google Shape;613;p1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4" name="Google Shape;614;p1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5" name="Google Shape;615;p1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6" name="Google Shape;616;p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7" name="Google Shape;617;p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8" name="Google Shape;618;p1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9" name="Google Shape;619;p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0" name="Google Shape;620;p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1" name="Google Shape;621;p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bg>
      <p:bgPr>
        <a:solidFill>
          <a:schemeClr val="lt2"/>
        </a:solidFill>
        <a:effectLst/>
      </p:bgPr>
    </p:bg>
    <p:spTree>
      <p:nvGrpSpPr>
        <p:cNvPr id="1" name="Shape 59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87" name="Google Shape;5987;p78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988" name="Google Shape;5988;p78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89" name="Google Shape;5989;p78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90" name="Google Shape;5990;p78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991" name="Google Shape;5991;p7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992" name="Google Shape;5992;p78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93" name="Google Shape;5993;p78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59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95" name="Google Shape;5995;p7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96" name="Google Shape;5996;p7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97" name="Google Shape;5997;p7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98" name="Google Shape;5998;p7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99" name="Google Shape;5999;p7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00" name="Google Shape;6000;p7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001" name="Google Shape;6001;p7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02" name="Google Shape;6002;p7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03" name="Google Shape;6003;p7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04" name="Google Shape;6004;p7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05" name="Google Shape;6005;p7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006" name="Google Shape;6006;p7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 2">
    <p:spTree>
      <p:nvGrpSpPr>
        <p:cNvPr id="1" name="Shape 6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8" name="Google Shape;6008;p7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09" name="Google Shape;6009;p7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10" name="Google Shape;6010;p7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11" name="Google Shape;6011;p7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12" name="Google Shape;6012;p7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13" name="Google Shape;6013;p7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014" name="Google Shape;6014;p7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15" name="Google Shape;6015;p7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16" name="Google Shape;6016;p7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17" name="Google Shape;6017;p7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18" name="Google Shape;6018;p7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019" name="Google Shape;6019;p79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60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21" name="Google Shape;6021;p7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22" name="Google Shape;6022;p7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23" name="Google Shape;6023;p7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24" name="Google Shape;6024;p7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25" name="Google Shape;6025;p7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26" name="Google Shape;6026;p7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27" name="Google Shape;6027;p7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28" name="Google Shape;6028;p7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29" name="Google Shape;6029;p7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30" name="Google Shape;6030;p7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60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2" name="Google Shape;6032;p7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33" name="Google Shape;6033;p7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034" name="Google Shape;6034;p7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35" name="Google Shape;6035;p7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36" name="Google Shape;6036;p7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37" name="Google Shape;6037;p7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38" name="Google Shape;6038;p7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39" name="Google Shape;6039;p7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40" name="Google Shape;6040;p7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41" name="Google Shape;6041;p7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42" name="Google Shape;6042;p7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60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44" name="Google Shape;6044;p7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45" name="Google Shape;6045;p7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46" name="Google Shape;6046;p7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47" name="Google Shape;6047;p7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48" name="Google Shape;6048;p7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49" name="Google Shape;6049;p7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50" name="Google Shape;6050;p7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051" name="Google Shape;6051;p7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52" name="Google Shape;6052;p7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053" name="Google Shape;6053;p7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54" name="Google Shape;6054;p7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55" name="Google Shape;6055;p7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56" name="Google Shape;6056;p7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60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58" name="Google Shape;6058;p79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059" name="Google Shape;6059;p79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060" name="Google Shape;6060;p79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061" name="Google Shape;6061;p79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62" name="Google Shape;6062;p79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063" name="Google Shape;6063;p79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064" name="Google Shape;6064;p7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60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66" name="Google Shape;6066;p7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067" name="Google Shape;6067;p7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68" name="Google Shape;6068;p7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069" name="Google Shape;6069;p7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70" name="Google Shape;6070;p7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71" name="Google Shape;6071;p7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072" name="Google Shape;6072;p7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073" name="Google Shape;6073;p7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60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75" name="Google Shape;6075;p7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76" name="Google Shape;6076;p7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77" name="Google Shape;6077;p7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078" name="Google Shape;6078;p7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79" name="Google Shape;6079;p7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80" name="Google Shape;6080;p7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81" name="Google Shape;6081;p7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82" name="Google Shape;6082;p7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6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84" name="Google Shape;6084;p7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85" name="Google Shape;6085;p7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86" name="Google Shape;6086;p7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87" name="Google Shape;6087;p7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88" name="Google Shape;6088;p7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89" name="Google Shape;6089;p7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90" name="Google Shape;6090;p7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91" name="Google Shape;6091;p7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92" name="Google Shape;6092;p7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5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4" name="Google Shape;64;p5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65;p5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66;p5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7" name="Google Shape;67;p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8" name="Google Shape;68;p5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5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3" name="Google Shape;623;p11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4" name="Google Shape;624;p11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5" name="Google Shape;625;p11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26" name="Google Shape;626;p11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27" name="Google Shape;627;p11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28" name="Google Shape;628;p1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9" name="Google Shape;629;p11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30" name="Google Shape;630;p1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 2">
    <p:bg>
      <p:bgPr>
        <a:solidFill>
          <a:schemeClr val="lt2"/>
        </a:solidFill>
        <a:effectLst/>
      </p:bgPr>
    </p:bg>
    <p:spTree>
      <p:nvGrpSpPr>
        <p:cNvPr id="1" name="Shape 60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94" name="Google Shape;6094;p79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095" name="Google Shape;6095;p79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96" name="Google Shape;6096;p7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97" name="Google Shape;6097;p79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098" name="Google Shape;6098;p7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099" name="Google Shape;6099;p79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00" name="Google Shape;6100;p79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 2">
    <p:spTree>
      <p:nvGrpSpPr>
        <p:cNvPr id="1" name="Shape 6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02" name="Google Shape;6102;p79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103" name="Google Shape;6103;p79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104" name="Google Shape;6104;p79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105" name="Google Shape;6105;p79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06" name="Google Shape;6106;p79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107" name="Google Shape;6107;p79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108" name="Google Shape;6108;p79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 2">
    <p:spTree>
      <p:nvGrpSpPr>
        <p:cNvPr id="1" name="Shape 6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10" name="Google Shape;6110;p80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11" name="Google Shape;6111;p80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12" name="Google Shape;6112;p80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113" name="Google Shape;6113;p80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114" name="Google Shape;6114;p80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115" name="Google Shape;6115;p8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16" name="Google Shape;6116;p80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117" name="Google Shape;6117;p8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 2">
    <p:spTree>
      <p:nvGrpSpPr>
        <p:cNvPr id="1" name="Shape 6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19" name="Google Shape;6119;p8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20" name="Google Shape;6120;p8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21" name="Google Shape;6121;p8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22" name="Google Shape;6122;p8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23" name="Google Shape;6123;p8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24" name="Google Shape;6124;p80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25" name="Google Shape;6125;p80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26" name="Google Shape;6126;p8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27" name="Google Shape;6127;p8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28" name="Google Shape;6128;p8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 2">
    <p:spTree>
      <p:nvGrpSpPr>
        <p:cNvPr id="1" name="Shape 6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0" name="Google Shape;6130;p8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31" name="Google Shape;6131;p80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132" name="Google Shape;6132;p8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33" name="Google Shape;6133;p8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34" name="Google Shape;6134;p8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35" name="Google Shape;6135;p8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36" name="Google Shape;6136;p8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37" name="Google Shape;6137;p80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38" name="Google Shape;6138;p80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39" name="Google Shape;6139;p8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40" name="Google Shape;6140;p8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 2">
    <p:spTree>
      <p:nvGrpSpPr>
        <p:cNvPr id="1" name="Shape 6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42" name="Google Shape;6142;p8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43" name="Google Shape;6143;p8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44" name="Google Shape;6144;p8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45" name="Google Shape;6145;p8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46" name="Google Shape;6146;p8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47" name="Google Shape;6147;p8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48" name="Google Shape;6148;p80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149" name="Google Shape;6149;p80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50" name="Google Shape;6150;p80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151" name="Google Shape;6151;p80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52" name="Google Shape;6152;p8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53" name="Google Shape;6153;p8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54" name="Google Shape;6154;p8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 3">
    <p:spTree>
      <p:nvGrpSpPr>
        <p:cNvPr id="1" name="Shape 6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6" name="Google Shape;6156;p80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57" name="Google Shape;6157;p80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58" name="Google Shape;6158;p80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59" name="Google Shape;6159;p8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60" name="Google Shape;6160;p8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61" name="Google Shape;6161;p8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162" name="Google Shape;6162;p8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63" name="Google Shape;6163;p8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64" name="Google Shape;6164;p8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65" name="Google Shape;6165;p8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66" name="Google Shape;6166;p8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167" name="Google Shape;6167;p80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 4">
    <p:spTree>
      <p:nvGrpSpPr>
        <p:cNvPr id="1" name="Shape 6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69" name="Google Shape;6169;p80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70" name="Google Shape;6170;p80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71" name="Google Shape;6171;p80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72" name="Google Shape;6172;p8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73" name="Google Shape;6173;p8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74" name="Google Shape;6174;p8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175" name="Google Shape;6175;p8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76" name="Google Shape;6176;p8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77" name="Google Shape;6177;p8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78" name="Google Shape;6178;p8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79" name="Google Shape;6179;p8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180" name="Google Shape;6180;p80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 5">
    <p:spTree>
      <p:nvGrpSpPr>
        <p:cNvPr id="1" name="Shape 6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82" name="Google Shape;6182;p80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83" name="Google Shape;6183;p80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84" name="Google Shape;6184;p80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85" name="Google Shape;6185;p8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86" name="Google Shape;6186;p8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87" name="Google Shape;6187;p8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188" name="Google Shape;6188;p8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89" name="Google Shape;6189;p8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90" name="Google Shape;6190;p8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91" name="Google Shape;6191;p8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92" name="Google Shape;6192;p8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193" name="Google Shape;6193;p80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 2">
    <p:spTree>
      <p:nvGrpSpPr>
        <p:cNvPr id="1" name="Shape 6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95" name="Google Shape;6195;p80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196" name="Google Shape;6196;p80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97" name="Google Shape;6197;p80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198" name="Google Shape;6198;p80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99" name="Google Shape;6199;p80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00" name="Google Shape;6200;p80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201" name="Google Shape;6201;p8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202" name="Google Shape;6202;p8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bg>
      <p:bgPr>
        <a:solidFill>
          <a:schemeClr val="lt2"/>
        </a:solidFill>
        <a:effectLst/>
      </p:bgPr>
    </p:bg>
    <p:spTree>
      <p:nvGrpSpPr>
        <p:cNvPr id="1" name="Shape 6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2" name="Google Shape;632;p11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33" name="Google Shape;633;p11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4" name="Google Shape;634;p11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5" name="Google Shape;635;p11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36" name="Google Shape;636;p1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37" name="Google Shape;637;p11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8" name="Google Shape;638;p11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 2">
    <p:spTree>
      <p:nvGrpSpPr>
        <p:cNvPr id="1" name="Shape 6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04" name="Google Shape;6204;p8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05" name="Google Shape;6205;p8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06" name="Google Shape;6206;p8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207" name="Google Shape;6207;p8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08" name="Google Shape;6208;p8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209" name="Google Shape;6209;p8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10" name="Google Shape;6210;p8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11" name="Google Shape;6211;p8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12" name="Google Shape;6212;p8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 2">
    <p:spTree>
      <p:nvGrpSpPr>
        <p:cNvPr id="1" name="Shape 6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14" name="Google Shape;6214;p80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215" name="Google Shape;6215;p80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16" name="Google Shape;6216;p80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217" name="Google Shape;6217;p80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18" name="Google Shape;6218;p80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19" name="Google Shape;6219;p80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220" name="Google Shape;6220;p8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221" name="Google Shape;6221;p80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 3">
    <p:spTree>
      <p:nvGrpSpPr>
        <p:cNvPr id="1" name="Shape 6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23" name="Google Shape;6223;p8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24" name="Google Shape;6224;p8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25" name="Google Shape;6225;p8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226" name="Google Shape;6226;p8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27" name="Google Shape;6227;p8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28" name="Google Shape;6228;p8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229" name="Google Shape;6229;p8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30" name="Google Shape;6230;p8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 3">
    <p:spTree>
      <p:nvGrpSpPr>
        <p:cNvPr id="1" name="Shape 6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32" name="Google Shape;6232;p8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33" name="Google Shape;6233;p8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34" name="Google Shape;6234;p8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35" name="Google Shape;6235;p8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36" name="Google Shape;6236;p8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37" name="Google Shape;6237;p8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238" name="Google Shape;6238;p8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39" name="Google Shape;6239;p8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40" name="Google Shape;6240;p8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241" name="Google Shape;6241;p8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42" name="Google Shape;6242;p8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243" name="Google Shape;6243;p81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 4">
    <p:spTree>
      <p:nvGrpSpPr>
        <p:cNvPr id="1" name="Shape 6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5" name="Google Shape;6245;p8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46" name="Google Shape;6246;p8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47" name="Google Shape;6247;p8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48" name="Google Shape;6248;p8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49" name="Google Shape;6249;p8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50" name="Google Shape;6250;p8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251" name="Google Shape;6251;p8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52" name="Google Shape;6252;p8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53" name="Google Shape;6253;p8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254" name="Google Shape;6254;p8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55" name="Google Shape;6255;p8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256" name="Google Shape;6256;p8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 5">
    <p:spTree>
      <p:nvGrpSpPr>
        <p:cNvPr id="1" name="Shape 6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58" name="Google Shape;6258;p8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59" name="Google Shape;6259;p8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60" name="Google Shape;6260;p8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61" name="Google Shape;6261;p8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62" name="Google Shape;6262;p8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63" name="Google Shape;6263;p8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264" name="Google Shape;6264;p8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65" name="Google Shape;6265;p8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66" name="Google Shape;6266;p8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267" name="Google Shape;6267;p8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68" name="Google Shape;6268;p8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269" name="Google Shape;6269;p8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 2">
    <p:spTree>
      <p:nvGrpSpPr>
        <p:cNvPr id="1" name="Shape 6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1" name="Google Shape;6271;p81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72" name="Google Shape;6272;p81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73" name="Google Shape;6273;p81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274" name="Google Shape;6274;p81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275" name="Google Shape;6275;p81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276" name="Google Shape;6276;p8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77" name="Google Shape;6277;p81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278" name="Google Shape;6278;p8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 2">
    <p:bg>
      <p:bgPr>
        <a:solidFill>
          <a:schemeClr val="lt2"/>
        </a:solidFill>
        <a:effectLst/>
      </p:bgPr>
    </p:bg>
    <p:spTree>
      <p:nvGrpSpPr>
        <p:cNvPr id="1" name="Shape 6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80" name="Google Shape;6280;p81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281" name="Google Shape;6281;p81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82" name="Google Shape;6282;p8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83" name="Google Shape;6283;p81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284" name="Google Shape;6284;p8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285" name="Google Shape;6285;p81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86" name="Google Shape;6286;p81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 2">
    <p:spTree>
      <p:nvGrpSpPr>
        <p:cNvPr id="1" name="Shape 6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88" name="Google Shape;6288;p81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289" name="Google Shape;6289;p81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290" name="Google Shape;6290;p81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291" name="Google Shape;6291;p81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92" name="Google Shape;6292;p81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293" name="Google Shape;6293;p81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294" name="Google Shape;6294;p8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 3">
    <p:spTree>
      <p:nvGrpSpPr>
        <p:cNvPr id="1" name="Shape 6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96" name="Google Shape;6296;p8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97" name="Google Shape;6297;p8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98" name="Google Shape;6298;p8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99" name="Google Shape;6299;p8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00" name="Google Shape;6300;p8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01" name="Google Shape;6301;p8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302" name="Google Shape;6302;p8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03" name="Google Shape;6303;p8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04" name="Google Shape;6304;p8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05" name="Google Shape;6305;p8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06" name="Google Shape;6306;p8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07" name="Google Shape;6307;p81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0" name="Google Shape;640;p11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41" name="Google Shape;641;p11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42" name="Google Shape;642;p11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43" name="Google Shape;643;p11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4" name="Google Shape;644;p11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5" name="Google Shape;645;p11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46" name="Google Shape;646;p1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 3">
    <p:spTree>
      <p:nvGrpSpPr>
        <p:cNvPr id="1" name="Shape 6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9" name="Google Shape;6309;p8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10" name="Google Shape;6310;p8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11" name="Google Shape;6311;p8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12" name="Google Shape;6312;p8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13" name="Google Shape;6313;p8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14" name="Google Shape;6314;p8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315" name="Google Shape;6315;p8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16" name="Google Shape;6316;p8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17" name="Google Shape;6317;p8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18" name="Google Shape;6318;p8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19" name="Google Shape;6319;p8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20" name="Google Shape;6320;p8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 4">
    <p:spTree>
      <p:nvGrpSpPr>
        <p:cNvPr id="1" name="Shape 6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22" name="Google Shape;6322;p81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23" name="Google Shape;6323;p81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24" name="Google Shape;6324;p81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25" name="Google Shape;6325;p8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26" name="Google Shape;6326;p8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27" name="Google Shape;6327;p8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328" name="Google Shape;6328;p8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29" name="Google Shape;6329;p8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30" name="Google Shape;6330;p8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31" name="Google Shape;6331;p8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32" name="Google Shape;6332;p8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33" name="Google Shape;6333;p81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 4">
    <p:spTree>
      <p:nvGrpSpPr>
        <p:cNvPr id="1" name="Shape 6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35" name="Google Shape;6335;p82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36" name="Google Shape;6336;p82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37" name="Google Shape;6337;p8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38" name="Google Shape;6338;p8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39" name="Google Shape;6339;p8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40" name="Google Shape;6340;p8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341" name="Google Shape;6341;p8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42" name="Google Shape;6342;p8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43" name="Google Shape;6343;p8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44" name="Google Shape;6344;p8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45" name="Google Shape;6345;p8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46" name="Google Shape;6346;p82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 5">
    <p:spTree>
      <p:nvGrpSpPr>
        <p:cNvPr id="1" name="Shape 6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" name="Google Shape;6348;p82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49" name="Google Shape;6349;p82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50" name="Google Shape;6350;p82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51" name="Google Shape;6351;p8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52" name="Google Shape;6352;p8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53" name="Google Shape;6353;p8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354" name="Google Shape;6354;p8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55" name="Google Shape;6355;p8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56" name="Google Shape;6356;p8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57" name="Google Shape;6357;p8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58" name="Google Shape;6358;p8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59" name="Google Shape;6359;p82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 5">
    <p:spTree>
      <p:nvGrpSpPr>
        <p:cNvPr id="1" name="Shape 6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61" name="Google Shape;6361;p82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62" name="Google Shape;6362;p82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63" name="Google Shape;6363;p82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64" name="Google Shape;6364;p8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65" name="Google Shape;6365;p8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66" name="Google Shape;6366;p8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367" name="Google Shape;6367;p8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68" name="Google Shape;6368;p8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69" name="Google Shape;6369;p8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70" name="Google Shape;6370;p8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71" name="Google Shape;6371;p8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72" name="Google Shape;6372;p82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 2">
    <p:spTree>
      <p:nvGrpSpPr>
        <p:cNvPr id="1" name="Shape 6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74" name="Google Shape;6374;p8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75" name="Google Shape;6375;p8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76" name="Google Shape;6376;p8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77" name="Google Shape;6377;p8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78" name="Google Shape;6378;p8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79" name="Google Shape;6379;p8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80" name="Google Shape;6380;p82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81" name="Google Shape;6381;p8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82" name="Google Shape;6382;p8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83" name="Google Shape;6383;p8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 2">
    <p:spTree>
      <p:nvGrpSpPr>
        <p:cNvPr id="1" name="Shape 6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5" name="Google Shape;6385;p8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86" name="Google Shape;6386;p82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387" name="Google Shape;6387;p8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88" name="Google Shape;6388;p8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89" name="Google Shape;6389;p8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90" name="Google Shape;6390;p8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91" name="Google Shape;6391;p8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92" name="Google Shape;6392;p82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93" name="Google Shape;6393;p82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94" name="Google Shape;6394;p8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95" name="Google Shape;6395;p8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 2">
    <p:spTree>
      <p:nvGrpSpPr>
        <p:cNvPr id="1" name="Shape 6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97" name="Google Shape;6397;p8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98" name="Google Shape;6398;p8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99" name="Google Shape;6399;p8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00" name="Google Shape;6400;p8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01" name="Google Shape;6401;p8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402" name="Google Shape;6402;p8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03" name="Google Shape;6403;p82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404" name="Google Shape;6404;p82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05" name="Google Shape;6405;p82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406" name="Google Shape;6406;p82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07" name="Google Shape;6407;p8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08" name="Google Shape;6408;p8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09" name="Google Shape;6409;p8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 2">
    <p:spTree>
      <p:nvGrpSpPr>
        <p:cNvPr id="1" name="Shape 6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11" name="Google Shape;6411;p8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12" name="Google Shape;6412;p8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13" name="Google Shape;6413;p8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14" name="Google Shape;6414;p8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15" name="Google Shape;6415;p8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416" name="Google Shape;6416;p8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17" name="Google Shape;6417;p8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18" name="Google Shape;6418;p8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19" name="Google Shape;6419;p8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 2">
    <p:spTree>
      <p:nvGrpSpPr>
        <p:cNvPr id="1" name="Shape 6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21" name="Google Shape;6421;p82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422" name="Google Shape;6422;p82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23" name="Google Shape;6423;p82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24" name="Google Shape;6424;p82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25" name="Google Shape;6425;p82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26" name="Google Shape;6426;p82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427" name="Google Shape;6427;p8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428" name="Google Shape;6428;p82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6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8" name="Google Shape;648;p1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9" name="Google Shape;649;p1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0" name="Google Shape;650;p1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1" name="Google Shape;651;p1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2" name="Google Shape;652;p1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3" name="Google Shape;653;p1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54" name="Google Shape;654;p1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5" name="Google Shape;655;p1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6" name="Google Shape;656;p1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7" name="Google Shape;657;p1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8" name="Google Shape;658;p1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59" name="Google Shape;659;p1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 2">
    <p:spTree>
      <p:nvGrpSpPr>
        <p:cNvPr id="1" name="Shape 6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30" name="Google Shape;6430;p8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31" name="Google Shape;6431;p8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32" name="Google Shape;6432;p8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433" name="Google Shape;6433;p8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34" name="Google Shape;6434;p8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35" name="Google Shape;6435;p8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36" name="Google Shape;6436;p8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37" name="Google Shape;6437;p8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 2">
    <p:spTree>
      <p:nvGrpSpPr>
        <p:cNvPr id="1" name="Shape 6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39" name="Google Shape;6439;p82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40" name="Google Shape;6440;p82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41" name="Google Shape;6441;p82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442" name="Google Shape;6442;p82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443" name="Google Shape;6443;p82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444" name="Google Shape;6444;p8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45" name="Google Shape;6445;p82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446" name="Google Shape;6446;p8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 2">
    <p:bg>
      <p:bgPr>
        <a:solidFill>
          <a:schemeClr val="lt2"/>
        </a:solidFill>
        <a:effectLst/>
      </p:bgPr>
    </p:bg>
    <p:spTree>
      <p:nvGrpSpPr>
        <p:cNvPr id="1" name="Shape 6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48" name="Google Shape;6448;p83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449" name="Google Shape;6449;p83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50" name="Google Shape;6450;p83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51" name="Google Shape;6451;p83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452" name="Google Shape;6452;p8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453" name="Google Shape;6453;p83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54" name="Google Shape;6454;p83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 3">
    <p:spTree>
      <p:nvGrpSpPr>
        <p:cNvPr id="1" name="Shape 6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6" name="Google Shape;6456;p83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57" name="Google Shape;6457;p8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58" name="Google Shape;6458;p8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59" name="Google Shape;6459;p8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60" name="Google Shape;6460;p8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61" name="Google Shape;6461;p8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462" name="Google Shape;6462;p8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63" name="Google Shape;6463;p8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64" name="Google Shape;6464;p8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65" name="Google Shape;6465;p8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66" name="Google Shape;6466;p8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467" name="Google Shape;6467;p83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 4">
    <p:spTree>
      <p:nvGrpSpPr>
        <p:cNvPr id="1" name="Shape 6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9" name="Google Shape;6469;p83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0" name="Google Shape;6470;p83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71" name="Google Shape;6471;p83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72" name="Google Shape;6472;p8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73" name="Google Shape;6473;p8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74" name="Google Shape;6474;p8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475" name="Google Shape;6475;p8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76" name="Google Shape;6476;p8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77" name="Google Shape;6477;p8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78" name="Google Shape;6478;p8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79" name="Google Shape;6479;p8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480" name="Google Shape;6480;p83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 5">
    <p:spTree>
      <p:nvGrpSpPr>
        <p:cNvPr id="1" name="Shape 6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82" name="Google Shape;6482;p83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83" name="Google Shape;6483;p83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84" name="Google Shape;6484;p83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85" name="Google Shape;6485;p8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86" name="Google Shape;6486;p8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87" name="Google Shape;6487;p8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488" name="Google Shape;6488;p8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89" name="Google Shape;6489;p8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90" name="Google Shape;6490;p8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91" name="Google Shape;6491;p8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92" name="Google Shape;6492;p8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493" name="Google Shape;6493;p83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 2">
    <p:spTree>
      <p:nvGrpSpPr>
        <p:cNvPr id="1" name="Shape 6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95" name="Google Shape;6495;p8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96" name="Google Shape;6496;p8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97" name="Google Shape;6497;p8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98" name="Google Shape;6498;p8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99" name="Google Shape;6499;p8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00" name="Google Shape;6500;p8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01" name="Google Shape;6501;p83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02" name="Google Shape;6502;p8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03" name="Google Shape;6503;p8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04" name="Google Shape;6504;p8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 2">
    <p:spTree>
      <p:nvGrpSpPr>
        <p:cNvPr id="1" name="Shape 6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06" name="Google Shape;6506;p8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07" name="Google Shape;6507;p83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508" name="Google Shape;6508;p8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09" name="Google Shape;6509;p8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10" name="Google Shape;6510;p8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11" name="Google Shape;6511;p8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12" name="Google Shape;6512;p8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13" name="Google Shape;6513;p83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14" name="Google Shape;6514;p83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15" name="Google Shape;6515;p8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16" name="Google Shape;6516;p8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 2">
    <p:spTree>
      <p:nvGrpSpPr>
        <p:cNvPr id="1" name="Shape 6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18" name="Google Shape;6518;p8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19" name="Google Shape;6519;p8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20" name="Google Shape;6520;p8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21" name="Google Shape;6521;p8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22" name="Google Shape;6522;p8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23" name="Google Shape;6523;p8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24" name="Google Shape;6524;p83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525" name="Google Shape;6525;p83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26" name="Google Shape;6526;p83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527" name="Google Shape;6527;p83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28" name="Google Shape;6528;p8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29" name="Google Shape;6529;p8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30" name="Google Shape;6530;p8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 2">
    <p:spTree>
      <p:nvGrpSpPr>
        <p:cNvPr id="1" name="Shape 65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2" name="Google Shape;6532;p83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533" name="Google Shape;6533;p83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534" name="Google Shape;6534;p83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535" name="Google Shape;6535;p83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36" name="Google Shape;6536;p83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537" name="Google Shape;6537;p83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538" name="Google Shape;6538;p8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6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1" name="Google Shape;661;p11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2" name="Google Shape;662;p11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3" name="Google Shape;663;p11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4" name="Google Shape;664;p1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5" name="Google Shape;665;p1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6" name="Google Shape;666;p1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67" name="Google Shape;667;p1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8" name="Google Shape;668;p1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9" name="Google Shape;669;p1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0" name="Google Shape;670;p1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1" name="Google Shape;671;p1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72" name="Google Shape;672;p11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 2">
    <p:spTree>
      <p:nvGrpSpPr>
        <p:cNvPr id="1" name="Shape 65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40" name="Google Shape;6540;p83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541" name="Google Shape;6541;p83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42" name="Google Shape;6542;p83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543" name="Google Shape;6543;p83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44" name="Google Shape;6544;p83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45" name="Google Shape;6545;p83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546" name="Google Shape;6546;p8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547" name="Google Shape;6547;p83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 2">
    <p:spTree>
      <p:nvGrpSpPr>
        <p:cNvPr id="1" name="Shape 65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49" name="Google Shape;6549;p8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50" name="Google Shape;6550;p8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51" name="Google Shape;6551;p8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552" name="Google Shape;6552;p8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53" name="Google Shape;6553;p8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54" name="Google Shape;6554;p8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55" name="Google Shape;6555;p8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56" name="Google Shape;6556;p8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 2">
    <p:spTree>
      <p:nvGrpSpPr>
        <p:cNvPr id="1" name="Shape 65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58" name="Google Shape;6558;p8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59" name="Google Shape;6559;p8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60" name="Google Shape;6560;p8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61" name="Google Shape;6561;p8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62" name="Google Shape;6562;p8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63" name="Google Shape;6563;p8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64" name="Google Shape;6564;p8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65" name="Google Shape;6565;p8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66" name="Google Shape;6566;p8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2">
    <p:spTree>
      <p:nvGrpSpPr>
        <p:cNvPr id="1" name="Shape 6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68" name="Google Shape;6568;p841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69" name="Google Shape;6569;p841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6570" name="Google Shape;6570;p841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6571" name="Google Shape;6571;p841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72" name="Google Shape;6572;p841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6573" name="Google Shape;6573;p8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65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75" name="Google Shape;6575;p84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76" name="Google Shape;6576;p84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77" name="Google Shape;6577;p84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78" name="Google Shape;6578;p8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79" name="Google Shape;6579;p8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80" name="Google Shape;6580;p8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581" name="Google Shape;6581;p8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82" name="Google Shape;6582;p8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83" name="Google Shape;6583;p8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84" name="Google Shape;6584;p8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85" name="Google Shape;6585;p8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586" name="Google Shape;6586;p84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 2">
    <p:spTree>
      <p:nvGrpSpPr>
        <p:cNvPr id="1" name="Shape 65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8" name="Google Shape;6588;p84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89" name="Google Shape;6589;p84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90" name="Google Shape;6590;p84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91" name="Google Shape;6591;p8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92" name="Google Shape;6592;p8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93" name="Google Shape;6593;p8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594" name="Google Shape;6594;p8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95" name="Google Shape;6595;p8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96" name="Google Shape;6596;p8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97" name="Google Shape;6597;p8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98" name="Google Shape;6598;p8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599" name="Google Shape;6599;p84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6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01" name="Google Shape;6601;p8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02" name="Google Shape;6602;p8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03" name="Google Shape;6603;p8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04" name="Google Shape;6604;p8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05" name="Google Shape;6605;p8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06" name="Google Shape;6606;p8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607" name="Google Shape;6607;p8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08" name="Google Shape;6608;p8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09" name="Google Shape;6609;p8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10" name="Google Shape;6610;p8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11" name="Google Shape;6611;p8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12" name="Google Shape;6612;p84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 2">
    <p:spTree>
      <p:nvGrpSpPr>
        <p:cNvPr id="1" name="Shape 6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14" name="Google Shape;6614;p84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15" name="Google Shape;6615;p84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16" name="Google Shape;6616;p84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17" name="Google Shape;6617;p8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18" name="Google Shape;6618;p8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19" name="Google Shape;6619;p8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620" name="Google Shape;6620;p8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21" name="Google Shape;6621;p8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22" name="Google Shape;6622;p8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23" name="Google Shape;6623;p8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24" name="Google Shape;6624;p8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25" name="Google Shape;6625;p84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 3">
    <p:spTree>
      <p:nvGrpSpPr>
        <p:cNvPr id="1" name="Shape 66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7" name="Google Shape;6627;p84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28" name="Google Shape;6628;p84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29" name="Google Shape;6629;p84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30" name="Google Shape;6630;p8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31" name="Google Shape;6631;p8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32" name="Google Shape;6632;p8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633" name="Google Shape;6633;p8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34" name="Google Shape;6634;p8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35" name="Google Shape;6635;p8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36" name="Google Shape;6636;p8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37" name="Google Shape;6637;p8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38" name="Google Shape;6638;p84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 2">
    <p:spTree>
      <p:nvGrpSpPr>
        <p:cNvPr id="1" name="Shape 6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40" name="Google Shape;6640;p8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41" name="Google Shape;6641;p8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42" name="Google Shape;6642;p8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43" name="Google Shape;6643;p8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44" name="Google Shape;6644;p8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45" name="Google Shape;6645;p8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646" name="Google Shape;6646;p8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47" name="Google Shape;6647;p8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48" name="Google Shape;6648;p8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49" name="Google Shape;6649;p8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50" name="Google Shape;6650;p8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51" name="Google Shape;6651;p84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6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4" name="Google Shape;674;p1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5" name="Google Shape;675;p1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6" name="Google Shape;676;p1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7" name="Google Shape;677;p1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8" name="Google Shape;678;p1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9" name="Google Shape;679;p1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0" name="Google Shape;680;p12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1" name="Google Shape;681;p1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2" name="Google Shape;682;p1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3" name="Google Shape;683;p1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6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3" name="Google Shape;6653;p848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54" name="Google Shape;6654;p848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655" name="Google Shape;6655;p8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6656" name="Google Shape;6656;p848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657" name="Google Shape;6657;p84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6658" name="Google Shape;6658;p848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59" name="Google Shape;6659;p848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60" name="Google Shape;6660;p848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61" name="Google Shape;6661;p8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6662" name="Google Shape;6662;p84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63" name="Google Shape;6663;p8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 2">
    <p:spTree>
      <p:nvGrpSpPr>
        <p:cNvPr id="1" name="Shape 66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65" name="Google Shape;6665;p84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66" name="Google Shape;6666;p84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67" name="Google Shape;6667;p84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68" name="Google Shape;6668;p8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69" name="Google Shape;6669;p8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70" name="Google Shape;6670;p8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671" name="Google Shape;6671;p8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72" name="Google Shape;6672;p8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73" name="Google Shape;6673;p8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74" name="Google Shape;6674;p8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75" name="Google Shape;6675;p8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76" name="Google Shape;6676;p84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 3">
    <p:spTree>
      <p:nvGrpSpPr>
        <p:cNvPr id="1" name="Shape 6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78" name="Google Shape;6678;p85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79" name="Google Shape;6679;p85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80" name="Google Shape;6680;p85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81" name="Google Shape;6681;p8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82" name="Google Shape;6682;p8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83" name="Google Shape;6683;p8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684" name="Google Shape;6684;p8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85" name="Google Shape;6685;p8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86" name="Google Shape;6686;p8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87" name="Google Shape;6687;p8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88" name="Google Shape;6688;p8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89" name="Google Shape;6689;p85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66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1" name="Google Shape;6691;p85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92" name="Google Shape;6692;p85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93" name="Google Shape;6693;p85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694" name="Google Shape;6694;p85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695" name="Google Shape;6695;p85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696" name="Google Shape;6696;p85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97" name="Google Shape;6697;p85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698" name="Google Shape;6698;p8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bg>
      <p:bgPr>
        <a:solidFill>
          <a:schemeClr val="lt2"/>
        </a:solidFill>
        <a:effectLst/>
      </p:bgPr>
    </p:bg>
    <p:spTree>
      <p:nvGrpSpPr>
        <p:cNvPr id="1" name="Shape 6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00" name="Google Shape;6700;p85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701" name="Google Shape;6701;p85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02" name="Google Shape;6702;p85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03" name="Google Shape;6703;p85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704" name="Google Shape;6704;p8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705" name="Google Shape;6705;p85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06" name="Google Shape;6706;p85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6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08" name="Google Shape;6708;p85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709" name="Google Shape;6709;p85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710" name="Google Shape;6710;p85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711" name="Google Shape;6711;p85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12" name="Google Shape;6712;p85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713" name="Google Shape;6713;p85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714" name="Google Shape;6714;p8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67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6" name="Google Shape;6716;p85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17" name="Google Shape;6717;p85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18" name="Google Shape;6718;p85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19" name="Google Shape;6719;p8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20" name="Google Shape;6720;p8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21" name="Google Shape;6721;p8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722" name="Google Shape;6722;p8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23" name="Google Shape;6723;p8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24" name="Google Shape;6724;p8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25" name="Google Shape;6725;p8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26" name="Google Shape;6726;p8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727" name="Google Shape;6727;p85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 2">
    <p:spTree>
      <p:nvGrpSpPr>
        <p:cNvPr id="1" name="Shape 67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29" name="Google Shape;6729;p8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30" name="Google Shape;6730;p8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31" name="Google Shape;6731;p8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32" name="Google Shape;6732;p8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33" name="Google Shape;6733;p8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34" name="Google Shape;6734;p8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735" name="Google Shape;6735;p8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36" name="Google Shape;6736;p8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37" name="Google Shape;6737;p8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38" name="Google Shape;6738;p8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39" name="Google Shape;6739;p8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740" name="Google Shape;6740;p85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67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42" name="Google Shape;6742;p8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43" name="Google Shape;6743;p8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44" name="Google Shape;6744;p8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45" name="Google Shape;6745;p8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46" name="Google Shape;6746;p8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47" name="Google Shape;6747;p8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48" name="Google Shape;6748;p85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49" name="Google Shape;6749;p8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50" name="Google Shape;6750;p8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51" name="Google Shape;6751;p8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6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3" name="Google Shape;6753;p8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54" name="Google Shape;6754;p85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755" name="Google Shape;6755;p8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56" name="Google Shape;6756;p8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57" name="Google Shape;6757;p8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58" name="Google Shape;6758;p8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59" name="Google Shape;6759;p8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60" name="Google Shape;6760;p85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61" name="Google Shape;6761;p85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62" name="Google Shape;6762;p8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63" name="Google Shape;6763;p8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Google Shape;685;p1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6" name="Google Shape;686;p1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87" name="Google Shape;687;p1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8" name="Google Shape;688;p1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9" name="Google Shape;689;p1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0" name="Google Shape;690;p1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1" name="Google Shape;691;p1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92" name="Google Shape;692;p12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3" name="Google Shape;693;p12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4" name="Google Shape;694;p1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5" name="Google Shape;695;p1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6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65" name="Google Shape;6765;p8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66" name="Google Shape;6766;p8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67" name="Google Shape;6767;p8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68" name="Google Shape;6768;p8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69" name="Google Shape;6769;p8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70" name="Google Shape;6770;p8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71" name="Google Shape;6771;p85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772" name="Google Shape;6772;p85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73" name="Google Shape;6773;p85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774" name="Google Shape;6774;p85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75" name="Google Shape;6775;p8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76" name="Google Shape;6776;p8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77" name="Google Shape;6777;p8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6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79" name="Google Shape;6779;p8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80" name="Google Shape;6780;p8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81" name="Google Shape;6781;p8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82" name="Google Shape;6782;p8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83" name="Google Shape;6783;p8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84" name="Google Shape;6784;p8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85" name="Google Shape;6785;p8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86" name="Google Shape;6786;p8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87" name="Google Shape;6787;p8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67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89" name="Google Shape;6789;p86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790" name="Google Shape;6790;p86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91" name="Google Shape;6791;p86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792" name="Google Shape;6792;p86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93" name="Google Shape;6793;p86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94" name="Google Shape;6794;p86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795" name="Google Shape;6795;p8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796" name="Google Shape;6796;p8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6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98" name="Google Shape;6798;p8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99" name="Google Shape;6799;p8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00" name="Google Shape;6800;p8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01" name="Google Shape;6801;p8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02" name="Google Shape;6802;p8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03" name="Google Shape;6803;p8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04" name="Google Shape;6804;p8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05" name="Google Shape;6805;p8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 3">
    <p:spTree>
      <p:nvGrpSpPr>
        <p:cNvPr id="1" name="Shape 6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7" name="Google Shape;6807;p86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08" name="Google Shape;6808;p86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09" name="Google Shape;6809;p8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10" name="Google Shape;6810;p8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11" name="Google Shape;6811;p8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12" name="Google Shape;6812;p8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13" name="Google Shape;6813;p8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14" name="Google Shape;6814;p8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15" name="Google Shape;6815;p8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16" name="Google Shape;6816;p8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17" name="Google Shape;6817;p8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18" name="Google Shape;6818;p86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 4">
    <p:spTree>
      <p:nvGrpSpPr>
        <p:cNvPr id="1" name="Shape 68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20" name="Google Shape;6820;p8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21" name="Google Shape;6821;p8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22" name="Google Shape;6822;p8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23" name="Google Shape;6823;p8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24" name="Google Shape;6824;p8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25" name="Google Shape;6825;p8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26" name="Google Shape;6826;p8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27" name="Google Shape;6827;p8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28" name="Google Shape;6828;p8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29" name="Google Shape;6829;p8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30" name="Google Shape;6830;p8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31" name="Google Shape;6831;p8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 3">
    <p:spTree>
      <p:nvGrpSpPr>
        <p:cNvPr id="1" name="Shape 68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33" name="Google Shape;6833;p8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34" name="Google Shape;6834;p8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35" name="Google Shape;6835;p8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36" name="Google Shape;6836;p8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37" name="Google Shape;6837;p8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38" name="Google Shape;6838;p8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39" name="Google Shape;6839;p8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40" name="Google Shape;6840;p8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41" name="Google Shape;6841;p8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42" name="Google Shape;6842;p8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43" name="Google Shape;6843;p8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44" name="Google Shape;6844;p86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 4">
    <p:spTree>
      <p:nvGrpSpPr>
        <p:cNvPr id="1" name="Shape 68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6" name="Google Shape;6846;p86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47" name="Google Shape;6847;p86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48" name="Google Shape;6848;p86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49" name="Google Shape;6849;p8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50" name="Google Shape;6850;p8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51" name="Google Shape;6851;p8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52" name="Google Shape;6852;p8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53" name="Google Shape;6853;p8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54" name="Google Shape;6854;p8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55" name="Google Shape;6855;p8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56" name="Google Shape;6856;p8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57" name="Google Shape;6857;p86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 5">
    <p:spTree>
      <p:nvGrpSpPr>
        <p:cNvPr id="1" name="Shape 6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9" name="Google Shape;6859;p8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60" name="Google Shape;6860;p8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61" name="Google Shape;6861;p8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62" name="Google Shape;6862;p8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63" name="Google Shape;6863;p8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64" name="Google Shape;6864;p8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65" name="Google Shape;6865;p8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66" name="Google Shape;6866;p8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67" name="Google Shape;6867;p8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68" name="Google Shape;6868;p8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69" name="Google Shape;6869;p8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70" name="Google Shape;6870;p86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 4">
    <p:spTree>
      <p:nvGrpSpPr>
        <p:cNvPr id="1" name="Shape 68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72" name="Google Shape;6872;p86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73" name="Google Shape;6873;p86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74" name="Google Shape;6874;p86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75" name="Google Shape;6875;p8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76" name="Google Shape;6876;p8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77" name="Google Shape;6877;p8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78" name="Google Shape;6878;p8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79" name="Google Shape;6879;p8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80" name="Google Shape;6880;p8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81" name="Google Shape;6881;p8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82" name="Google Shape;6882;p8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83" name="Google Shape;6883;p86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7" name="Google Shape;697;p1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8" name="Google Shape;698;p1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9" name="Google Shape;699;p1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0" name="Google Shape;700;p1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1" name="Google Shape;701;p1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2" name="Google Shape;702;p1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3" name="Google Shape;703;p12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04" name="Google Shape;704;p12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5" name="Google Shape;705;p12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06" name="Google Shape;706;p12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7" name="Google Shape;707;p1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8" name="Google Shape;708;p1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9" name="Google Shape;709;p1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 5">
    <p:spTree>
      <p:nvGrpSpPr>
        <p:cNvPr id="1" name="Shape 68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85" name="Google Shape;6885;p86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86" name="Google Shape;6886;p86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87" name="Google Shape;6887;p86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88" name="Google Shape;6888;p8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89" name="Google Shape;6889;p8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90" name="Google Shape;6890;p8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91" name="Google Shape;6891;p8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92" name="Google Shape;6892;p8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93" name="Google Shape;6893;p8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94" name="Google Shape;6894;p8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95" name="Google Shape;6895;p8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96" name="Google Shape;6896;p86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 6">
    <p:spTree>
      <p:nvGrpSpPr>
        <p:cNvPr id="1" name="Shape 68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98" name="Google Shape;6898;p86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99" name="Google Shape;6899;p86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00" name="Google Shape;6900;p86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01" name="Google Shape;6901;p8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02" name="Google Shape;6902;p8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03" name="Google Shape;6903;p8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904" name="Google Shape;6904;p8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05" name="Google Shape;6905;p8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06" name="Google Shape;6906;p8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07" name="Google Shape;6907;p8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08" name="Google Shape;6908;p8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09" name="Google Shape;6909;p86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 5">
    <p:spTree>
      <p:nvGrpSpPr>
        <p:cNvPr id="1" name="Shape 6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11" name="Google Shape;6911;p8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12" name="Google Shape;6912;p8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13" name="Google Shape;6913;p8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14" name="Google Shape;6914;p8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15" name="Google Shape;6915;p8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16" name="Google Shape;6916;p8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917" name="Google Shape;6917;p8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18" name="Google Shape;6918;p8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19" name="Google Shape;6919;p8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20" name="Google Shape;6920;p8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21" name="Google Shape;6921;p8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22" name="Google Shape;6922;p87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">
    <p:bg>
      <p:bgPr>
        <a:solidFill>
          <a:schemeClr val="lt1"/>
        </a:solidFill>
        <a:effectLst/>
      </p:bgPr>
    </p:bg>
    <p:spTree>
      <p:nvGrpSpPr>
        <p:cNvPr id="1" name="Shape 69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24" name="Google Shape;6924;p871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25" name="Google Shape;6925;p871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926" name="Google Shape;6926;p8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6927" name="Google Shape;6927;p871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928" name="Google Shape;6928;p87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6929" name="Google Shape;6929;p87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30" name="Google Shape;6930;p871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31" name="Google Shape;6931;p871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32" name="Google Shape;6932;p8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6933" name="Google Shape;6933;p87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934" name="Google Shape;6934;p8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 4">
    <p:spTree>
      <p:nvGrpSpPr>
        <p:cNvPr id="1" name="Shape 69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36" name="Google Shape;6936;p8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37" name="Google Shape;6937;p8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38" name="Google Shape;6938;p8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39" name="Google Shape;6939;p8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40" name="Google Shape;6940;p8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41" name="Google Shape;6941;p8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942" name="Google Shape;6942;p8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43" name="Google Shape;6943;p8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44" name="Google Shape;6944;p8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45" name="Google Shape;6945;p8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46" name="Google Shape;6946;p8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47" name="Google Shape;6947;p87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 5">
    <p:spTree>
      <p:nvGrpSpPr>
        <p:cNvPr id="1" name="Shape 6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49" name="Google Shape;6949;p87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50" name="Google Shape;6950;p87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51" name="Google Shape;6951;p87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52" name="Google Shape;6952;p8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53" name="Google Shape;6953;p8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54" name="Google Shape;6954;p8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955" name="Google Shape;6955;p8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56" name="Google Shape;6956;p8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57" name="Google Shape;6957;p8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58" name="Google Shape;6958;p8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59" name="Google Shape;6959;p8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60" name="Google Shape;6960;p87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 6">
    <p:spTree>
      <p:nvGrpSpPr>
        <p:cNvPr id="1" name="Shape 69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2" name="Google Shape;6962;p87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63" name="Google Shape;6963;p87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64" name="Google Shape;6964;p87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65" name="Google Shape;6965;p8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66" name="Google Shape;6966;p8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67" name="Google Shape;6967;p8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968" name="Google Shape;6968;p8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69" name="Google Shape;6969;p8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70" name="Google Shape;6970;p8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71" name="Google Shape;6971;p8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72" name="Google Shape;6972;p8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73" name="Google Shape;6973;p87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 2">
    <p:spTree>
      <p:nvGrpSpPr>
        <p:cNvPr id="1" name="Shape 6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75" name="Google Shape;6975;p87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76" name="Google Shape;6976;p87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77" name="Google Shape;6977;p87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978" name="Google Shape;6978;p87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979" name="Google Shape;6979;p87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980" name="Google Shape;6980;p8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81" name="Google Shape;6981;p87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982" name="Google Shape;6982;p8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 2">
    <p:bg>
      <p:bgPr>
        <a:solidFill>
          <a:schemeClr val="lt2"/>
        </a:solidFill>
        <a:effectLst/>
      </p:bgPr>
    </p:bg>
    <p:spTree>
      <p:nvGrpSpPr>
        <p:cNvPr id="1" name="Shape 6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84" name="Google Shape;6984;p87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985" name="Google Shape;6985;p87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86" name="Google Shape;6986;p87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87" name="Google Shape;6987;p87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988" name="Google Shape;6988;p8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989" name="Google Shape;6989;p87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90" name="Google Shape;6990;p87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 2">
    <p:spTree>
      <p:nvGrpSpPr>
        <p:cNvPr id="1" name="Shape 6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92" name="Google Shape;6992;p87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993" name="Google Shape;6993;p87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994" name="Google Shape;6994;p87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995" name="Google Shape;6995;p87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96" name="Google Shape;6996;p87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997" name="Google Shape;6997;p87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998" name="Google Shape;6998;p8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7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1" name="Google Shape;711;p1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2" name="Google Shape;712;p1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3" name="Google Shape;713;p1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4" name="Google Shape;714;p1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5" name="Google Shape;715;p1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6" name="Google Shape;716;p1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7" name="Google Shape;717;p1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8" name="Google Shape;718;p1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9" name="Google Shape;719;p1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 3">
    <p:spTree>
      <p:nvGrpSpPr>
        <p:cNvPr id="1" name="Shape 6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00" name="Google Shape;7000;p87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01" name="Google Shape;7001;p8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02" name="Google Shape;7002;p8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03" name="Google Shape;7003;p8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04" name="Google Shape;7004;p8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05" name="Google Shape;7005;p8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006" name="Google Shape;7006;p8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07" name="Google Shape;7007;p8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08" name="Google Shape;7008;p8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09" name="Google Shape;7009;p8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10" name="Google Shape;7010;p8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011" name="Google Shape;7011;p87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 4">
    <p:spTree>
      <p:nvGrpSpPr>
        <p:cNvPr id="1" name="Shape 70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13" name="Google Shape;7013;p8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14" name="Google Shape;7014;p8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15" name="Google Shape;7015;p8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16" name="Google Shape;7016;p8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17" name="Google Shape;7017;p8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18" name="Google Shape;7018;p8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019" name="Google Shape;7019;p8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20" name="Google Shape;7020;p8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21" name="Google Shape;7021;p8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22" name="Google Shape;7022;p8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23" name="Google Shape;7023;p8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024" name="Google Shape;7024;p8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 5">
    <p:spTree>
      <p:nvGrpSpPr>
        <p:cNvPr id="1" name="Shape 70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26" name="Google Shape;7026;p88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27" name="Google Shape;7027;p8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28" name="Google Shape;7028;p8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29" name="Google Shape;7029;p8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30" name="Google Shape;7030;p8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31" name="Google Shape;7031;p8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032" name="Google Shape;7032;p8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33" name="Google Shape;7033;p8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34" name="Google Shape;7034;p8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35" name="Google Shape;7035;p8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36" name="Google Shape;7036;p8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037" name="Google Shape;7037;p88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 2">
    <p:spTree>
      <p:nvGrpSpPr>
        <p:cNvPr id="1" name="Shape 70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39" name="Google Shape;7039;p8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40" name="Google Shape;7040;p8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41" name="Google Shape;7041;p8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42" name="Google Shape;7042;p8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43" name="Google Shape;7043;p8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44" name="Google Shape;7044;p8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45" name="Google Shape;7045;p8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46" name="Google Shape;7046;p8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47" name="Google Shape;7047;p8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48" name="Google Shape;7048;p8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 2">
    <p:spTree>
      <p:nvGrpSpPr>
        <p:cNvPr id="1" name="Shape 70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50" name="Google Shape;7050;p8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51" name="Google Shape;7051;p88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052" name="Google Shape;7052;p8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53" name="Google Shape;7053;p8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54" name="Google Shape;7054;p8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55" name="Google Shape;7055;p8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56" name="Google Shape;7056;p8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57" name="Google Shape;7057;p88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58" name="Google Shape;7058;p88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59" name="Google Shape;7059;p8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60" name="Google Shape;7060;p8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 2">
    <p:spTree>
      <p:nvGrpSpPr>
        <p:cNvPr id="1" name="Shape 70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62" name="Google Shape;7062;p8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63" name="Google Shape;7063;p8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64" name="Google Shape;7064;p8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65" name="Google Shape;7065;p8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66" name="Google Shape;7066;p8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67" name="Google Shape;7067;p8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68" name="Google Shape;7068;p88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069" name="Google Shape;7069;p88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70" name="Google Shape;7070;p88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071" name="Google Shape;7071;p88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72" name="Google Shape;7072;p8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73" name="Google Shape;7073;p8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74" name="Google Shape;7074;p8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 2">
    <p:spTree>
      <p:nvGrpSpPr>
        <p:cNvPr id="1" name="Shape 70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76" name="Google Shape;7076;p8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77" name="Google Shape;7077;p8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78" name="Google Shape;7078;p8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79" name="Google Shape;7079;p8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80" name="Google Shape;7080;p8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81" name="Google Shape;7081;p88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82" name="Google Shape;7082;p8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83" name="Google Shape;7083;p8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84" name="Google Shape;7084;p8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 2">
    <p:spTree>
      <p:nvGrpSpPr>
        <p:cNvPr id="1" name="Shape 7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86" name="Google Shape;7086;p88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087" name="Google Shape;7087;p88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88" name="Google Shape;7088;p88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089" name="Google Shape;7089;p88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90" name="Google Shape;7090;p88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91" name="Google Shape;7091;p88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092" name="Google Shape;7092;p8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093" name="Google Shape;7093;p88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 2">
    <p:spTree>
      <p:nvGrpSpPr>
        <p:cNvPr id="1" name="Shape 7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95" name="Google Shape;7095;p8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96" name="Google Shape;7096;p8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97" name="Google Shape;7097;p8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098" name="Google Shape;7098;p8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99" name="Google Shape;7099;p8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00" name="Google Shape;7100;p8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01" name="Google Shape;7101;p8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02" name="Google Shape;7102;p8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7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4" name="Google Shape;7104;p88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05" name="Google Shape;7105;p88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06" name="Google Shape;7106;p88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107" name="Google Shape;7107;p88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108" name="Google Shape;7108;p88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109" name="Google Shape;7109;p8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10" name="Google Shape;7110;p88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111" name="Google Shape;7111;p8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1" name="Google Shape;721;p12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22" name="Google Shape;722;p12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3" name="Google Shape;723;p12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24" name="Google Shape;724;p12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5" name="Google Shape;725;p12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6" name="Google Shape;726;p12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27" name="Google Shape;727;p1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12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7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13" name="Google Shape;7113;p88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114" name="Google Shape;7114;p88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15" name="Google Shape;7115;p88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16" name="Google Shape;7116;p88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117" name="Google Shape;7117;p8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118" name="Google Shape;7118;p88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19" name="Google Shape;7119;p88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7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21" name="Google Shape;7121;p88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122" name="Google Shape;7122;p88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123" name="Google Shape;7123;p88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124" name="Google Shape;7124;p88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25" name="Google Shape;7125;p88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126" name="Google Shape;7126;p88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127" name="Google Shape;7127;p8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7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29" name="Google Shape;7129;p8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30" name="Google Shape;7130;p8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31" name="Google Shape;7131;p8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32" name="Google Shape;7132;p8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33" name="Google Shape;7133;p8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34" name="Google Shape;7134;p8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135" name="Google Shape;7135;p8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36" name="Google Shape;7136;p8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37" name="Google Shape;7137;p8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38" name="Google Shape;7138;p8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39" name="Google Shape;7139;p8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140" name="Google Shape;7140;p89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 2">
    <p:spTree>
      <p:nvGrpSpPr>
        <p:cNvPr id="1" name="Shape 7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42" name="Google Shape;7142;p89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43" name="Google Shape;7143;p89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44" name="Google Shape;7144;p8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45" name="Google Shape;7145;p8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46" name="Google Shape;7146;p8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47" name="Google Shape;7147;p8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148" name="Google Shape;7148;p8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49" name="Google Shape;7149;p8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50" name="Google Shape;7150;p8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51" name="Google Shape;7151;p8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52" name="Google Shape;7152;p8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153" name="Google Shape;7153;p89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7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55" name="Google Shape;7155;p8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56" name="Google Shape;7156;p8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57" name="Google Shape;7157;p8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58" name="Google Shape;7158;p8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59" name="Google Shape;7159;p8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60" name="Google Shape;7160;p8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61" name="Google Shape;7161;p8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62" name="Google Shape;7162;p8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63" name="Google Shape;7163;p8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64" name="Google Shape;7164;p8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7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6" name="Google Shape;7166;p8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67" name="Google Shape;7167;p89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68" name="Google Shape;7168;p8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69" name="Google Shape;7169;p8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70" name="Google Shape;7170;p8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71" name="Google Shape;7171;p8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72" name="Google Shape;7172;p8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73" name="Google Shape;7173;p89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74" name="Google Shape;7174;p89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75" name="Google Shape;7175;p8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76" name="Google Shape;7176;p8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7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78" name="Google Shape;7178;p8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79" name="Google Shape;7179;p8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80" name="Google Shape;7180;p8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81" name="Google Shape;7181;p8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82" name="Google Shape;7182;p8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83" name="Google Shape;7183;p8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84" name="Google Shape;7184;p89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185" name="Google Shape;7185;p89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86" name="Google Shape;7186;p89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187" name="Google Shape;7187;p89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88" name="Google Shape;7188;p8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89" name="Google Shape;7189;p8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90" name="Google Shape;7190;p8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7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92" name="Google Shape;7192;p8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93" name="Google Shape;7193;p8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94" name="Google Shape;7194;p8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95" name="Google Shape;7195;p8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96" name="Google Shape;7196;p8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97" name="Google Shape;7197;p8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98" name="Google Shape;7198;p8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99" name="Google Shape;7199;p8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00" name="Google Shape;7200;p8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7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02" name="Google Shape;7202;p89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203" name="Google Shape;7203;p89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04" name="Google Shape;7204;p89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205" name="Google Shape;7205;p89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06" name="Google Shape;7206;p89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07" name="Google Shape;7207;p89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208" name="Google Shape;7208;p8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209" name="Google Shape;7209;p89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7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1" name="Google Shape;7211;p8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12" name="Google Shape;7212;p8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13" name="Google Shape;7213;p8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214" name="Google Shape;7214;p8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15" name="Google Shape;7215;p8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16" name="Google Shape;7216;p8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17" name="Google Shape;7217;p8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18" name="Google Shape;7218;p8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oogle Shape;71;p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" name="Google Shape;78;p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" name="Google Shape;79;p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" name="Google Shape;80;p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7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0" name="Google Shape;730;p1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1" name="Google Shape;731;p1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2" name="Google Shape;732;p1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33" name="Google Shape;733;p1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4" name="Google Shape;734;p1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5" name="Google Shape;735;p1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6" name="Google Shape;736;p1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7" name="Google Shape;737;p1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 2">
    <p:spTree>
      <p:nvGrpSpPr>
        <p:cNvPr id="1" name="Shape 7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20" name="Google Shape;7220;p89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21" name="Google Shape;7221;p89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22" name="Google Shape;7222;p89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23" name="Google Shape;7223;p8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24" name="Google Shape;7224;p8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25" name="Google Shape;7225;p8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226" name="Google Shape;7226;p8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27" name="Google Shape;7227;p8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28" name="Google Shape;7228;p8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29" name="Google Shape;7229;p8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30" name="Google Shape;7230;p8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231" name="Google Shape;7231;p89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 3">
    <p:spTree>
      <p:nvGrpSpPr>
        <p:cNvPr id="1" name="Shape 7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33" name="Google Shape;7233;p89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34" name="Google Shape;7234;p89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35" name="Google Shape;7235;p89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36" name="Google Shape;7236;p8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37" name="Google Shape;7237;p8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38" name="Google Shape;7238;p8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239" name="Google Shape;7239;p8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40" name="Google Shape;7240;p8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41" name="Google Shape;7241;p8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42" name="Google Shape;7242;p8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43" name="Google Shape;7243;p8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244" name="Google Shape;7244;p89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 2">
    <p:spTree>
      <p:nvGrpSpPr>
        <p:cNvPr id="1" name="Shape 7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6" name="Google Shape;7246;p90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47" name="Google Shape;7247;p90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48" name="Google Shape;7248;p90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249" name="Google Shape;7249;p90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250" name="Google Shape;7250;p90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251" name="Google Shape;7251;p9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52" name="Google Shape;7252;p90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253" name="Google Shape;7253;p9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 2">
    <p:bg>
      <p:bgPr>
        <a:solidFill>
          <a:schemeClr val="lt2"/>
        </a:solidFill>
        <a:effectLst/>
      </p:bgPr>
    </p:bg>
    <p:spTree>
      <p:nvGrpSpPr>
        <p:cNvPr id="1" name="Shape 7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55" name="Google Shape;7255;p90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256" name="Google Shape;7256;p90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57" name="Google Shape;7257;p90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58" name="Google Shape;7258;p90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259" name="Google Shape;7259;p9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260" name="Google Shape;7260;p90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61" name="Google Shape;7261;p90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 2">
    <p:spTree>
      <p:nvGrpSpPr>
        <p:cNvPr id="1" name="Shape 7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63" name="Google Shape;7263;p90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264" name="Google Shape;7264;p90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265" name="Google Shape;7265;p90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266" name="Google Shape;7266;p90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67" name="Google Shape;7267;p90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268" name="Google Shape;7268;p90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269" name="Google Shape;7269;p9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 3">
    <p:spTree>
      <p:nvGrpSpPr>
        <p:cNvPr id="1" name="Shape 7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1" name="Google Shape;7271;p90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72" name="Google Shape;7272;p90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73" name="Google Shape;7273;p90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74" name="Google Shape;7274;p9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75" name="Google Shape;7275;p9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76" name="Google Shape;7276;p9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277" name="Google Shape;7277;p9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78" name="Google Shape;7278;p9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79" name="Google Shape;7279;p9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80" name="Google Shape;7280;p9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81" name="Google Shape;7281;p9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282" name="Google Shape;7282;p90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 2">
    <p:spTree>
      <p:nvGrpSpPr>
        <p:cNvPr id="1" name="Shape 7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84" name="Google Shape;7284;p9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85" name="Google Shape;7285;p9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86" name="Google Shape;7286;p9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87" name="Google Shape;7287;p9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88" name="Google Shape;7288;p9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289" name="Google Shape;7289;p9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90" name="Google Shape;7290;p90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91" name="Google Shape;7291;p9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92" name="Google Shape;7292;p9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93" name="Google Shape;7293;p9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 2">
    <p:spTree>
      <p:nvGrpSpPr>
        <p:cNvPr id="1" name="Shape 7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95" name="Google Shape;7295;p9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96" name="Google Shape;7296;p90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297" name="Google Shape;7297;p9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98" name="Google Shape;7298;p9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99" name="Google Shape;7299;p9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00" name="Google Shape;7300;p9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01" name="Google Shape;7301;p9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302" name="Google Shape;7302;p90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03" name="Google Shape;7303;p90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04" name="Google Shape;7304;p9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05" name="Google Shape;7305;p9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 2">
    <p:spTree>
      <p:nvGrpSpPr>
        <p:cNvPr id="1" name="Shape 7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07" name="Google Shape;7307;p9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08" name="Google Shape;7308;p9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09" name="Google Shape;7309;p9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10" name="Google Shape;7310;p9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11" name="Google Shape;7311;p9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312" name="Google Shape;7312;p9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13" name="Google Shape;7313;p90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314" name="Google Shape;7314;p90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15" name="Google Shape;7315;p90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316" name="Google Shape;7316;p90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17" name="Google Shape;7317;p9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18" name="Google Shape;7318;p9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19" name="Google Shape;7319;p9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 2">
    <p:spTree>
      <p:nvGrpSpPr>
        <p:cNvPr id="1" name="Shape 7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21" name="Google Shape;7321;p9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22" name="Google Shape;7322;p9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23" name="Google Shape;7323;p9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24" name="Google Shape;7324;p9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25" name="Google Shape;7325;p9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326" name="Google Shape;7326;p90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27" name="Google Shape;7327;p9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28" name="Google Shape;7328;p9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29" name="Google Shape;7329;p9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7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9" name="Google Shape;739;p12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0" name="Google Shape;740;p12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1" name="Google Shape;741;p12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42" name="Google Shape;742;p12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43" name="Google Shape;743;p12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44" name="Google Shape;744;p12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5" name="Google Shape;745;p12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46" name="Google Shape;746;p1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 2">
    <p:spTree>
      <p:nvGrpSpPr>
        <p:cNvPr id="1" name="Shape 7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31" name="Google Shape;7331;p90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332" name="Google Shape;7332;p90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33" name="Google Shape;7333;p90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334" name="Google Shape;7334;p90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35" name="Google Shape;7335;p90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36" name="Google Shape;7336;p90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337" name="Google Shape;7337;p90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338" name="Google Shape;7338;p90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 2">
    <p:spTree>
      <p:nvGrpSpPr>
        <p:cNvPr id="1" name="Shape 7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40" name="Google Shape;7340;p90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41" name="Google Shape;7341;p9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42" name="Google Shape;7342;p9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343" name="Google Shape;7343;p9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44" name="Google Shape;7344;p9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45" name="Google Shape;7345;p9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46" name="Google Shape;7346;p9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47" name="Google Shape;7347;p9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 4">
    <p:spTree>
      <p:nvGrpSpPr>
        <p:cNvPr id="1" name="Shape 73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49" name="Google Shape;7349;p91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50" name="Google Shape;7350;p91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51" name="Google Shape;7351;p91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52" name="Google Shape;7352;p9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53" name="Google Shape;7353;p9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54" name="Google Shape;7354;p9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355" name="Google Shape;7355;p9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56" name="Google Shape;7356;p9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57" name="Google Shape;7357;p9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58" name="Google Shape;7358;p9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59" name="Google Shape;7359;p9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360" name="Google Shape;7360;p91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 3">
    <p:spTree>
      <p:nvGrpSpPr>
        <p:cNvPr id="1" name="Shape 7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62" name="Google Shape;7362;p91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63" name="Google Shape;7363;p91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64" name="Google Shape;7364;p91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65" name="Google Shape;7365;p91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366" name="Google Shape;7366;p91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367" name="Google Shape;7367;p91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68" name="Google Shape;7368;p91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369" name="Google Shape;7369;p9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 3">
    <p:bg>
      <p:bgPr>
        <a:solidFill>
          <a:schemeClr val="lt2"/>
        </a:solidFill>
        <a:effectLst/>
      </p:bgPr>
    </p:bg>
    <p:spTree>
      <p:nvGrpSpPr>
        <p:cNvPr id="1" name="Shape 7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71" name="Google Shape;7371;p91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372" name="Google Shape;7372;p91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73" name="Google Shape;7373;p91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74" name="Google Shape;7374;p91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375" name="Google Shape;7375;p9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376" name="Google Shape;7376;p91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77" name="Google Shape;7377;p91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 3">
    <p:spTree>
      <p:nvGrpSpPr>
        <p:cNvPr id="1" name="Shape 7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9" name="Google Shape;7379;p91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380" name="Google Shape;7380;p91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381" name="Google Shape;7381;p91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382" name="Google Shape;7382;p91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83" name="Google Shape;7383;p91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384" name="Google Shape;7384;p91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385" name="Google Shape;7385;p9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 4">
    <p:spTree>
      <p:nvGrpSpPr>
        <p:cNvPr id="1" name="Shape 7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87" name="Google Shape;7387;p9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88" name="Google Shape;7388;p9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89" name="Google Shape;7389;p9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90" name="Google Shape;7390;p9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91" name="Google Shape;7391;p9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92" name="Google Shape;7392;p9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393" name="Google Shape;7393;p9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94" name="Google Shape;7394;p9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95" name="Google Shape;7395;p9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96" name="Google Shape;7396;p9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97" name="Google Shape;7397;p9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398" name="Google Shape;7398;p91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 3">
    <p:spTree>
      <p:nvGrpSpPr>
        <p:cNvPr id="1" name="Shape 73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00" name="Google Shape;7400;p9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01" name="Google Shape;7401;p9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02" name="Google Shape;7402;p9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03" name="Google Shape;7403;p9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04" name="Google Shape;7404;p9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05" name="Google Shape;7405;p9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06" name="Google Shape;7406;p91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07" name="Google Shape;7407;p9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08" name="Google Shape;7408;p9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09" name="Google Shape;7409;p9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 3">
    <p:spTree>
      <p:nvGrpSpPr>
        <p:cNvPr id="1" name="Shape 7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11" name="Google Shape;7411;p9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12" name="Google Shape;7412;p91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413" name="Google Shape;7413;p9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14" name="Google Shape;7414;p9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15" name="Google Shape;7415;p9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16" name="Google Shape;7416;p9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17" name="Google Shape;7417;p9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18" name="Google Shape;7418;p91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19" name="Google Shape;7419;p91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20" name="Google Shape;7420;p9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21" name="Google Shape;7421;p9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 3">
    <p:spTree>
      <p:nvGrpSpPr>
        <p:cNvPr id="1" name="Shape 7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23" name="Google Shape;7423;p9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24" name="Google Shape;7424;p9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25" name="Google Shape;7425;p9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26" name="Google Shape;7426;p9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27" name="Google Shape;7427;p9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28" name="Google Shape;7428;p91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29" name="Google Shape;7429;p91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430" name="Google Shape;7430;p91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31" name="Google Shape;7431;p91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432" name="Google Shape;7432;p91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33" name="Google Shape;7433;p9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34" name="Google Shape;7434;p9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35" name="Google Shape;7435;p9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bg>
      <p:bgPr>
        <a:solidFill>
          <a:schemeClr val="lt2"/>
        </a:solidFill>
        <a:effectLst/>
      </p:bgPr>
    </p:bg>
    <p:spTree>
      <p:nvGrpSpPr>
        <p:cNvPr id="1" name="Shape 7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8" name="Google Shape;748;p12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49" name="Google Shape;749;p12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0" name="Google Shape;750;p12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1" name="Google Shape;751;p12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52" name="Google Shape;752;p1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53" name="Google Shape;753;p12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4" name="Google Shape;754;p12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 3">
    <p:spTree>
      <p:nvGrpSpPr>
        <p:cNvPr id="1" name="Shape 74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37" name="Google Shape;7437;p9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38" name="Google Shape;7438;p9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39" name="Google Shape;7439;p9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40" name="Google Shape;7440;p9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41" name="Google Shape;7441;p9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42" name="Google Shape;7442;p9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43" name="Google Shape;7443;p9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44" name="Google Shape;7444;p9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45" name="Google Shape;7445;p9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 3">
    <p:spTree>
      <p:nvGrpSpPr>
        <p:cNvPr id="1" name="Shape 74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47" name="Google Shape;7447;p91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448" name="Google Shape;7448;p91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49" name="Google Shape;7449;p91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450" name="Google Shape;7450;p91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51" name="Google Shape;7451;p91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52" name="Google Shape;7452;p91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453" name="Google Shape;7453;p9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454" name="Google Shape;7454;p91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 3">
    <p:spTree>
      <p:nvGrpSpPr>
        <p:cNvPr id="1" name="Shape 7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56" name="Google Shape;7456;p9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57" name="Google Shape;7457;p9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58" name="Google Shape;7458;p9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459" name="Google Shape;7459;p9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60" name="Google Shape;7460;p9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61" name="Google Shape;7461;p9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62" name="Google Shape;7462;p9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63" name="Google Shape;7463;p9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 5">
    <p:spTree>
      <p:nvGrpSpPr>
        <p:cNvPr id="1" name="Shape 7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65" name="Google Shape;7465;p92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66" name="Google Shape;7466;p92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67" name="Google Shape;7467;p92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68" name="Google Shape;7468;p9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69" name="Google Shape;7469;p9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70" name="Google Shape;7470;p9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471" name="Google Shape;7471;p9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72" name="Google Shape;7472;p9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73" name="Google Shape;7473;p9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74" name="Google Shape;7474;p9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75" name="Google Shape;7475;p9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476" name="Google Shape;7476;p92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7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8" name="Google Shape;7478;p922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79" name="Google Shape;7479;p922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480" name="Google Shape;7480;p92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81" name="Google Shape;7481;p9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482" name="Google Shape;7482;p9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7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84" name="Google Shape;7484;p92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85" name="Google Shape;7485;p92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86" name="Google Shape;7486;p92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87" name="Google Shape;7487;p9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488" name="Google Shape;7488;p9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489" name="Google Shape;7489;p92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90" name="Google Shape;7490;p92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91" name="Google Shape;7491;p92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492" name="Google Shape;7492;p9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7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94" name="Google Shape;7494;p92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95" name="Google Shape;7495;p92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96" name="Google Shape;7496;p92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97" name="Google Shape;7497;p9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498" name="Google Shape;7498;p9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499" name="Google Shape;7499;p92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00" name="Google Shape;7500;p92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01" name="Google Shape;7501;p92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02" name="Google Shape;7502;p9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7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4" name="Google Shape;7504;p92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05" name="Google Shape;7505;p92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06" name="Google Shape;7506;p92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07" name="Google Shape;7507;p9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508" name="Google Shape;7508;p9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509" name="Google Shape;7509;p92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10" name="Google Shape;7510;p92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11" name="Google Shape;7511;p92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12" name="Google Shape;7512;p9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 2">
    <p:spTree>
      <p:nvGrpSpPr>
        <p:cNvPr id="1" name="Shape 75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14" name="Google Shape;7514;p92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15" name="Google Shape;7515;p92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16" name="Google Shape;7516;p92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17" name="Google Shape;7517;p9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518" name="Google Shape;7518;p9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519" name="Google Shape;7519;p92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20" name="Google Shape;7520;p92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21" name="Google Shape;7521;p92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22" name="Google Shape;7522;p9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7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24" name="Google Shape;7524;p927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25" name="Google Shape;7525;p92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26" name="Google Shape;7526;p92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27" name="Google Shape;7527;p927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28" name="Google Shape;7528;p9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7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6" name="Google Shape;756;p12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7" name="Google Shape;757;p12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8" name="Google Shape;758;p12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9" name="Google Shape;759;p1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60" name="Google Shape;760;p1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61" name="Google Shape;761;p1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62" name="Google Shape;762;p1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63" name="Google Shape;763;p1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64" name="Google Shape;764;p1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65" name="Google Shape;765;p1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6" name="Google Shape;766;p1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67" name="Google Shape;767;p12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7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30" name="Google Shape;7530;p92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531" name="Google Shape;7531;p9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532" name="Google Shape;7532;p92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33" name="Google Shape;7533;p928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34" name="Google Shape;7534;p928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7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36" name="Google Shape;7536;p92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37" name="Google Shape;7537;p92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38" name="Google Shape;7538;p929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39" name="Google Shape;7539;p929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40" name="Google Shape;7540;p929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541" name="Google Shape;7541;p9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 2">
    <p:spTree>
      <p:nvGrpSpPr>
        <p:cNvPr id="1" name="Shape 7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43" name="Google Shape;7543;p93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44" name="Google Shape;7544;p93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45" name="Google Shape;7545;p9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46" name="Google Shape;7546;p9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547" name="Google Shape;7547;p9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548" name="Google Shape;7548;p93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49" name="Google Shape;7549;p93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50" name="Google Shape;7550;p93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51" name="Google Shape;7551;p9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7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53" name="Google Shape;7553;p93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54" name="Google Shape;7554;p93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55" name="Google Shape;7555;p93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56" name="Google Shape;7556;p93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57" name="Google Shape;7557;p9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7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59" name="Google Shape;7559;p93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560" name="Google Shape;7560;p9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561" name="Google Shape;7561;p93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62" name="Google Shape;7562;p93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63" name="Google Shape;7563;p93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75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65" name="Google Shape;7565;p93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66" name="Google Shape;7566;p93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67" name="Google Shape;7567;p93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68" name="Google Shape;7568;p93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69" name="Google Shape;7569;p93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570" name="Google Shape;7570;p9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7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2" name="Google Shape;7572;p9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73" name="Google Shape;7573;p9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74" name="Google Shape;7574;p9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75" name="Google Shape;7575;p9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576" name="Google Shape;7576;p9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577" name="Google Shape;7577;p9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78" name="Google Shape;7578;p9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79" name="Google Shape;7579;p9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80" name="Google Shape;7580;p9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75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82" name="Google Shape;7582;p93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83" name="Google Shape;7583;p9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84" name="Google Shape;7584;p9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85" name="Google Shape;7585;p93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86" name="Google Shape;7586;p9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75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88" name="Google Shape;7588;p93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589" name="Google Shape;7589;p9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590" name="Google Shape;7590;p93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91" name="Google Shape;7591;p93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92" name="Google Shape;7592;p93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7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94" name="Google Shape;7594;p93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95" name="Google Shape;7595;p93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96" name="Google Shape;7596;p93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97" name="Google Shape;7597;p93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98" name="Google Shape;7598;p93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599" name="Google Shape;7599;p9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7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9" name="Google Shape;769;p1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0" name="Google Shape;770;p1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71" name="Google Shape;771;p1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72" name="Google Shape;772;p1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3" name="Google Shape;773;p1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74" name="Google Shape;774;p1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5" name="Google Shape;775;p12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6" name="Google Shape;776;p1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77" name="Google Shape;777;p1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78" name="Google Shape;778;p1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 3">
    <p:spTree>
      <p:nvGrpSpPr>
        <p:cNvPr id="1" name="Shape 7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01" name="Google Shape;7601;p93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02" name="Google Shape;7602;p93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03" name="Google Shape;7603;p93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04" name="Google Shape;7604;p9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605" name="Google Shape;7605;p9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606" name="Google Shape;7606;p93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07" name="Google Shape;7607;p93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08" name="Google Shape;7608;p93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09" name="Google Shape;7609;p9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 2">
    <p:spTree>
      <p:nvGrpSpPr>
        <p:cNvPr id="1" name="Shape 76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11" name="Google Shape;7611;p939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12" name="Google Shape;7612;p93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13" name="Google Shape;7613;p93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14" name="Google Shape;7614;p939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15" name="Google Shape;7615;p9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 2">
    <p:spTree>
      <p:nvGrpSpPr>
        <p:cNvPr id="1" name="Shape 76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17" name="Google Shape;7617;p94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618" name="Google Shape;7618;p9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619" name="Google Shape;7619;p94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20" name="Google Shape;7620;p940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21" name="Google Shape;7621;p940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 2">
    <p:spTree>
      <p:nvGrpSpPr>
        <p:cNvPr id="1" name="Shape 7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23" name="Google Shape;7623;p94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24" name="Google Shape;7624;p94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25" name="Google Shape;7625;p941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26" name="Google Shape;7626;p941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27" name="Google Shape;7627;p941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628" name="Google Shape;7628;p9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 2">
    <p:spTree>
      <p:nvGrpSpPr>
        <p:cNvPr id="1" name="Shape 7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30" name="Google Shape;7630;p94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31" name="Google Shape;7631;p94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32" name="Google Shape;7632;p94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33" name="Google Shape;7633;p9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634" name="Google Shape;7634;p9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635" name="Google Shape;7635;p94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36" name="Google Shape;7636;p94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37" name="Google Shape;7637;p94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38" name="Google Shape;7638;p9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 2">
    <p:spTree>
      <p:nvGrpSpPr>
        <p:cNvPr id="1" name="Shape 7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40" name="Google Shape;7640;p94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41" name="Google Shape;7641;p94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42" name="Google Shape;7642;p94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43" name="Google Shape;7643;p94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44" name="Google Shape;7644;p9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 2">
    <p:spTree>
      <p:nvGrpSpPr>
        <p:cNvPr id="1" name="Shape 7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46" name="Google Shape;7646;p94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647" name="Google Shape;7647;p9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648" name="Google Shape;7648;p94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49" name="Google Shape;7649;p94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50" name="Google Shape;7650;p94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 2">
    <p:spTree>
      <p:nvGrpSpPr>
        <p:cNvPr id="1" name="Shape 76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52" name="Google Shape;7652;p94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53" name="Google Shape;7653;p94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54" name="Google Shape;7654;p94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55" name="Google Shape;7655;p94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56" name="Google Shape;7656;p94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657" name="Google Shape;7657;p9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7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59" name="Google Shape;7659;p94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60" name="Google Shape;7660;p94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61" name="Google Shape;7661;p94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62" name="Google Shape;7662;p9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663" name="Google Shape;7663;p9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664" name="Google Shape;7664;p94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65" name="Google Shape;7665;p94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66" name="Google Shape;7666;p94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67" name="Google Shape;7667;p9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7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69" name="Google Shape;7669;p94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70" name="Google Shape;7670;p94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71" name="Google Shape;7671;p94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72" name="Google Shape;7672;p9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673" name="Google Shape;7673;p9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674" name="Google Shape;7674;p94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75" name="Google Shape;7675;p94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76" name="Google Shape;7676;p94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77" name="Google Shape;7677;p9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7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0" name="Google Shape;780;p1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1" name="Google Shape;781;p13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82" name="Google Shape;782;p1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83" name="Google Shape;783;p1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4" name="Google Shape;784;p1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85" name="Google Shape;785;p1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6" name="Google Shape;786;p1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87" name="Google Shape;787;p13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8" name="Google Shape;788;p13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9" name="Google Shape;789;p1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0" name="Google Shape;790;p1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76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79" name="Google Shape;7679;p94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80" name="Google Shape;7680;p94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81" name="Google Shape;7681;p94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82" name="Google Shape;7682;p94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83" name="Google Shape;7683;p9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7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5" name="Google Shape;7685;p94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686" name="Google Shape;7686;p9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687" name="Google Shape;7687;p94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88" name="Google Shape;7688;p94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89" name="Google Shape;7689;p94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76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91" name="Google Shape;7691;p95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92" name="Google Shape;7692;p95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93" name="Google Shape;7693;p95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94" name="Google Shape;7694;p95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95" name="Google Shape;7695;p95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696" name="Google Shape;7696;p9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76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98" name="Google Shape;7698;p95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99" name="Google Shape;7699;p95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00" name="Google Shape;7700;p95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701" name="Google Shape;7701;p9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702" name="Google Shape;7702;p9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703" name="Google Shape;7703;p95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04" name="Google Shape;7704;p95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05" name="Google Shape;7705;p95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06" name="Google Shape;7706;p9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7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08" name="Google Shape;7708;p952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09" name="Google Shape;7709;p95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10" name="Google Shape;7710;p95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11" name="Google Shape;7711;p952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12" name="Google Shape;7712;p9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77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14" name="Google Shape;7714;p95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715" name="Google Shape;7715;p9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716" name="Google Shape;7716;p95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17" name="Google Shape;7717;p953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18" name="Google Shape;7718;p953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7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20" name="Google Shape;7720;p95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21" name="Google Shape;7721;p95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22" name="Google Shape;7722;p954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23" name="Google Shape;7723;p954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24" name="Google Shape;7724;p954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725" name="Google Shape;7725;p9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77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27" name="Google Shape;7727;p95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28" name="Google Shape;7728;p95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29" name="Google Shape;7729;p95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30" name="Google Shape;7730;p95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31" name="Google Shape;7731;p9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7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33" name="Google Shape;7733;p95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734" name="Google Shape;7734;p9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735" name="Google Shape;7735;p95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36" name="Google Shape;7736;p95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37" name="Google Shape;7737;p95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77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39" name="Google Shape;7739;p95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40" name="Google Shape;7740;p95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41" name="Google Shape;7741;p95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42" name="Google Shape;7742;p95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43" name="Google Shape;7743;p95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744" name="Google Shape;7744;p9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7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2" name="Google Shape;792;p1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3" name="Google Shape;793;p1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4" name="Google Shape;794;p1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5" name="Google Shape;795;p1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6" name="Google Shape;796;p1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7" name="Google Shape;797;p1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8" name="Google Shape;798;p13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99" name="Google Shape;799;p13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0" name="Google Shape;800;p13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01" name="Google Shape;801;p13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2" name="Google Shape;802;p1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3" name="Google Shape;803;p1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4" name="Google Shape;804;p1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 2">
    <p:spTree>
      <p:nvGrpSpPr>
        <p:cNvPr id="1" name="Shape 77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46" name="Google Shape;7746;p95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47" name="Google Shape;7747;p95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48" name="Google Shape;7748;p95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749" name="Google Shape;7749;p9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750" name="Google Shape;7750;p9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751" name="Google Shape;7751;p95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52" name="Google Shape;7752;p95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53" name="Google Shape;7753;p95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54" name="Google Shape;7754;p9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 2">
    <p:spTree>
      <p:nvGrpSpPr>
        <p:cNvPr id="1" name="Shape 77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56" name="Google Shape;7756;p95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57" name="Google Shape;7757;p95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58" name="Google Shape;7758;p95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759" name="Google Shape;7759;p9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760" name="Google Shape;7760;p9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761" name="Google Shape;7761;p95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62" name="Google Shape;7762;p95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63" name="Google Shape;7763;p95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64" name="Google Shape;7764;p9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 2">
    <p:spTree>
      <p:nvGrpSpPr>
        <p:cNvPr id="1" name="Shape 77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66" name="Google Shape;7766;p96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67" name="Google Shape;7767;p96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68" name="Google Shape;7768;p96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69" name="Google Shape;7769;p96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70" name="Google Shape;7770;p9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 2">
    <p:spTree>
      <p:nvGrpSpPr>
        <p:cNvPr id="1" name="Shape 77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72" name="Google Shape;7772;p96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773" name="Google Shape;7773;p9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774" name="Google Shape;7774;p96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75" name="Google Shape;7775;p96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76" name="Google Shape;7776;p96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 2">
    <p:spTree>
      <p:nvGrpSpPr>
        <p:cNvPr id="1" name="Shape 77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78" name="Google Shape;7778;p96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79" name="Google Shape;7779;p96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80" name="Google Shape;7780;p96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81" name="Google Shape;7781;p96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82" name="Google Shape;7782;p96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783" name="Google Shape;7783;p9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 2">
    <p:spTree>
      <p:nvGrpSpPr>
        <p:cNvPr id="1" name="Shape 77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5" name="Google Shape;7785;p96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86" name="Google Shape;7786;p96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87" name="Google Shape;7787;p96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788" name="Google Shape;7788;p9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789" name="Google Shape;7789;p9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790" name="Google Shape;7790;p96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91" name="Google Shape;7791;p96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92" name="Google Shape;7792;p96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93" name="Google Shape;7793;p9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 2">
    <p:spTree>
      <p:nvGrpSpPr>
        <p:cNvPr id="1" name="Shape 77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95" name="Google Shape;7795;p96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96" name="Google Shape;7796;p96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97" name="Google Shape;7797;p96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98" name="Google Shape;7798;p96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99" name="Google Shape;7799;p9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 2">
    <p:spTree>
      <p:nvGrpSpPr>
        <p:cNvPr id="1" name="Shape 7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01" name="Google Shape;7801;p96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802" name="Google Shape;7802;p9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803" name="Google Shape;7803;p96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04" name="Google Shape;7804;p96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05" name="Google Shape;7805;p96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 2">
    <p:spTree>
      <p:nvGrpSpPr>
        <p:cNvPr id="1" name="Shape 7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07" name="Google Shape;7807;p96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08" name="Google Shape;7808;p96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09" name="Google Shape;7809;p96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10" name="Google Shape;7810;p96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11" name="Google Shape;7811;p96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812" name="Google Shape;7812;p9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 3">
    <p:spTree>
      <p:nvGrpSpPr>
        <p:cNvPr id="1" name="Shape 78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14" name="Google Shape;7814;p96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15" name="Google Shape;7815;p96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16" name="Google Shape;7816;p96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817" name="Google Shape;7817;p9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818" name="Google Shape;7818;p9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819" name="Google Shape;7819;p96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20" name="Google Shape;7820;p96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21" name="Google Shape;7821;p96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822" name="Google Shape;7822;p9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8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6" name="Google Shape;806;p13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07" name="Google Shape;807;p13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08" name="Google Shape;808;p13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09" name="Google Shape;809;p13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0" name="Google Shape;810;p13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11" name="Google Shape;811;p13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12" name="Google Shape;812;p1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 3">
    <p:spTree>
      <p:nvGrpSpPr>
        <p:cNvPr id="1" name="Shape 78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24" name="Google Shape;7824;p96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25" name="Google Shape;7825;p96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26" name="Google Shape;7826;p96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827" name="Google Shape;7827;p9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828" name="Google Shape;7828;p9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829" name="Google Shape;7829;p96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30" name="Google Shape;7830;p96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31" name="Google Shape;7831;p96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832" name="Google Shape;7832;p9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 3">
    <p:spTree>
      <p:nvGrpSpPr>
        <p:cNvPr id="1" name="Shape 78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34" name="Google Shape;7834;p969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35" name="Google Shape;7835;p96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36" name="Google Shape;7836;p96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37" name="Google Shape;7837;p969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838" name="Google Shape;7838;p9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 3">
    <p:spTree>
      <p:nvGrpSpPr>
        <p:cNvPr id="1" name="Shape 78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40" name="Google Shape;7840;p97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841" name="Google Shape;7841;p9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842" name="Google Shape;7842;p97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43" name="Google Shape;7843;p970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44" name="Google Shape;7844;p970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 3">
    <p:spTree>
      <p:nvGrpSpPr>
        <p:cNvPr id="1" name="Shape 78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46" name="Google Shape;7846;p97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47" name="Google Shape;7847;p97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48" name="Google Shape;7848;p971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49" name="Google Shape;7849;p971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50" name="Google Shape;7850;p971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851" name="Google Shape;7851;p9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 3">
    <p:spTree>
      <p:nvGrpSpPr>
        <p:cNvPr id="1" name="Shape 78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53" name="Google Shape;7853;p97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54" name="Google Shape;7854;p97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55" name="Google Shape;7855;p97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856" name="Google Shape;7856;p9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857" name="Google Shape;7857;p9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858" name="Google Shape;7858;p97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59" name="Google Shape;7859;p97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60" name="Google Shape;7860;p97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861" name="Google Shape;7861;p9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 3">
    <p:spTree>
      <p:nvGrpSpPr>
        <p:cNvPr id="1" name="Shape 78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63" name="Google Shape;7863;p97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64" name="Google Shape;7864;p97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65" name="Google Shape;7865;p97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66" name="Google Shape;7866;p97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867" name="Google Shape;7867;p9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 3">
    <p:spTree>
      <p:nvGrpSpPr>
        <p:cNvPr id="1" name="Shape 7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69" name="Google Shape;7869;p97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870" name="Google Shape;7870;p9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871" name="Google Shape;7871;p97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72" name="Google Shape;7872;p97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73" name="Google Shape;7873;p97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 3">
    <p:spTree>
      <p:nvGrpSpPr>
        <p:cNvPr id="1" name="Shape 78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75" name="Google Shape;7875;p97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76" name="Google Shape;7876;p97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77" name="Google Shape;7877;p97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78" name="Google Shape;7878;p97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79" name="Google Shape;7879;p97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880" name="Google Shape;7880;p9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78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2" name="Google Shape;7882;p97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83" name="Google Shape;7883;p97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84" name="Google Shape;7884;p97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885" name="Google Shape;7885;p97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886" name="Google Shape;7886;p97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887" name="Google Shape;7887;p97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88" name="Google Shape;7888;p97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889" name="Google Shape;7889;p9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bg>
      <p:bgPr>
        <a:solidFill>
          <a:schemeClr val="lt2"/>
        </a:solidFill>
        <a:effectLst/>
      </p:bgPr>
    </p:bg>
    <p:spTree>
      <p:nvGrpSpPr>
        <p:cNvPr id="1" name="Shape 78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91" name="Google Shape;7891;p97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892" name="Google Shape;7892;p97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93" name="Google Shape;7893;p97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94" name="Google Shape;7894;p97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895" name="Google Shape;7895;p9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896" name="Google Shape;7896;p97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97" name="Google Shape;7897;p97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8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4" name="Google Shape;814;p13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15" name="Google Shape;815;p13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6" name="Google Shape;816;p13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17" name="Google Shape;817;p13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8" name="Google Shape;818;p13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9" name="Google Shape;819;p13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20" name="Google Shape;820;p1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21" name="Google Shape;821;p13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7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99" name="Google Shape;7899;p97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900" name="Google Shape;7900;p97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901" name="Google Shape;7901;p97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902" name="Google Shape;7902;p97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03" name="Google Shape;7903;p97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904" name="Google Shape;7904;p97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905" name="Google Shape;7905;p9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7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07" name="Google Shape;7907;p9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08" name="Google Shape;7908;p9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09" name="Google Shape;7909;p9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10" name="Google Shape;7910;p9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11" name="Google Shape;7911;p9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12" name="Google Shape;7912;p9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913" name="Google Shape;7913;p9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14" name="Google Shape;7914;p9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15" name="Google Shape;7915;p9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16" name="Google Shape;7916;p9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17" name="Google Shape;7917;p9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918" name="Google Shape;7918;p9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 2">
    <p:spTree>
      <p:nvGrpSpPr>
        <p:cNvPr id="1" name="Shape 79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20" name="Google Shape;7920;p98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21" name="Google Shape;7921;p9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22" name="Google Shape;7922;p9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23" name="Google Shape;7923;p9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24" name="Google Shape;7924;p9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25" name="Google Shape;7925;p9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926" name="Google Shape;7926;p9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27" name="Google Shape;7927;p9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28" name="Google Shape;7928;p9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29" name="Google Shape;7929;p9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30" name="Google Shape;7930;p9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931" name="Google Shape;7931;p98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79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33" name="Google Shape;7933;p9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34" name="Google Shape;7934;p9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935" name="Google Shape;7935;p9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36" name="Google Shape;7936;p9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37" name="Google Shape;7937;p9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38" name="Google Shape;7938;p9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39" name="Google Shape;7939;p9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40" name="Google Shape;7940;p98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41" name="Google Shape;7941;p98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42" name="Google Shape;7942;p9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43" name="Google Shape;7943;p9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79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45" name="Google Shape;7945;p9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46" name="Google Shape;7946;p9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47" name="Google Shape;7947;p9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48" name="Google Shape;7948;p9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49" name="Google Shape;7949;p9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50" name="Google Shape;7950;p9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51" name="Google Shape;7951;p98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952" name="Google Shape;7952;p98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53" name="Google Shape;7953;p98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954" name="Google Shape;7954;p98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55" name="Google Shape;7955;p9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56" name="Google Shape;7956;p9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57" name="Google Shape;7957;p9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79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59" name="Google Shape;7959;p9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60" name="Google Shape;7960;p9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61" name="Google Shape;7961;p9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62" name="Google Shape;7962;p9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63" name="Google Shape;7963;p9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64" name="Google Shape;7964;p9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65" name="Google Shape;7965;p9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66" name="Google Shape;7966;p9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67" name="Google Shape;7967;p9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79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69" name="Google Shape;7969;p98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970" name="Google Shape;7970;p98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71" name="Google Shape;7971;p98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972" name="Google Shape;7972;p98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73" name="Google Shape;7973;p98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74" name="Google Shape;7974;p98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975" name="Google Shape;7975;p9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976" name="Google Shape;7976;p98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79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78" name="Google Shape;7978;p9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79" name="Google Shape;7979;p9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80" name="Google Shape;7980;p9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981" name="Google Shape;7981;p9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82" name="Google Shape;7982;p9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83" name="Google Shape;7983;p9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84" name="Google Shape;7984;p9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85" name="Google Shape;7985;p9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79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" name="Google Shape;7987;p98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88" name="Google Shape;7988;p98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89" name="Google Shape;7989;p98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990" name="Google Shape;7990;p98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991" name="Google Shape;7991;p98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992" name="Google Shape;7992;p9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93" name="Google Shape;7993;p98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994" name="Google Shape;7994;p9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bg>
      <p:bgPr>
        <a:solidFill>
          <a:schemeClr val="lt2"/>
        </a:solidFill>
        <a:effectLst/>
      </p:bgPr>
    </p:bg>
    <p:spTree>
      <p:nvGrpSpPr>
        <p:cNvPr id="1" name="Shape 79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96" name="Google Shape;7996;p98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997" name="Google Shape;7997;p98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98" name="Google Shape;7998;p9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99" name="Google Shape;7999;p98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000" name="Google Shape;8000;p9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001" name="Google Shape;8001;p98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02" name="Google Shape;8002;p98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3" name="Google Shape;823;p1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4" name="Google Shape;824;p1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5" name="Google Shape;825;p1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26" name="Google Shape;826;p1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7" name="Google Shape;827;p1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8" name="Google Shape;828;p1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9" name="Google Shape;829;p1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0" name="Google Shape;830;p1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8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04" name="Google Shape;8004;p98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005" name="Google Shape;8005;p98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006" name="Google Shape;8006;p98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007" name="Google Shape;8007;p98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08" name="Google Shape;8008;p98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009" name="Google Shape;8009;p98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010" name="Google Shape;8010;p9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80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12" name="Google Shape;8012;p9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13" name="Google Shape;8013;p9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14" name="Google Shape;8014;p9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15" name="Google Shape;8015;p9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16" name="Google Shape;8016;p9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17" name="Google Shape;8017;p9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018" name="Google Shape;8018;p9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19" name="Google Shape;8019;p9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20" name="Google Shape;8020;p9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21" name="Google Shape;8021;p9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22" name="Google Shape;8022;p9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023" name="Google Shape;8023;p9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 2">
    <p:spTree>
      <p:nvGrpSpPr>
        <p:cNvPr id="1" name="Shape 80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25" name="Google Shape;8025;p9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26" name="Google Shape;8026;p9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27" name="Google Shape;8027;p9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28" name="Google Shape;8028;p9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29" name="Google Shape;8029;p9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30" name="Google Shape;8030;p9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031" name="Google Shape;8031;p9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32" name="Google Shape;8032;p9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33" name="Google Shape;8033;p9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34" name="Google Shape;8034;p9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35" name="Google Shape;8035;p9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036" name="Google Shape;8036;p99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4">
    <p:spTree>
      <p:nvGrpSpPr>
        <p:cNvPr id="1" name="Shape 80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38" name="Google Shape;8038;p9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39" name="Google Shape;8039;p9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40" name="Google Shape;8040;p9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41" name="Google Shape;8041;p9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42" name="Google Shape;8042;p9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043" name="Google Shape;8043;p9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44" name="Google Shape;8044;p9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45" name="Google Shape;8045;p9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46" name="Google Shape;8046;p9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47" name="Google Shape;8047;p9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80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49" name="Google Shape;8049;p9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50" name="Google Shape;8050;p9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051" name="Google Shape;8051;p9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52" name="Google Shape;8052;p9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53" name="Google Shape;8053;p9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54" name="Google Shape;8054;p9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55" name="Google Shape;8055;p9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056" name="Google Shape;8056;p9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57" name="Google Shape;8057;p9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58" name="Google Shape;8058;p9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59" name="Google Shape;8059;p9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80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61" name="Google Shape;8061;p9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62" name="Google Shape;8062;p9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63" name="Google Shape;8063;p9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64" name="Google Shape;8064;p9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65" name="Google Shape;8065;p9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066" name="Google Shape;8066;p9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67" name="Google Shape;8067;p9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068" name="Google Shape;8068;p9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69" name="Google Shape;8069;p9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070" name="Google Shape;8070;p9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71" name="Google Shape;8071;p9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72" name="Google Shape;8072;p9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73" name="Google Shape;8073;p9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80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75" name="Google Shape;8075;p9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76" name="Google Shape;8076;p9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77" name="Google Shape;8077;p9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78" name="Google Shape;8078;p9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79" name="Google Shape;8079;p9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080" name="Google Shape;8080;p9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81" name="Google Shape;8081;p9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82" name="Google Shape;8082;p9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83" name="Google Shape;8083;p9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80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85" name="Google Shape;8085;p9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086" name="Google Shape;8086;p9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87" name="Google Shape;8087;p9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088" name="Google Shape;8088;p9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89" name="Google Shape;8089;p9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90" name="Google Shape;8090;p9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091" name="Google Shape;8091;p9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092" name="Google Shape;8092;p9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80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4" name="Google Shape;8094;p9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95" name="Google Shape;8095;p9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96" name="Google Shape;8096;p9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097" name="Google Shape;8097;p9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98" name="Google Shape;8098;p9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99" name="Google Shape;8099;p9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00" name="Google Shape;8100;p9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01" name="Google Shape;8101;p9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8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03" name="Google Shape;8103;p997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104" name="Google Shape;8104;p9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105" name="Google Shape;8105;p997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106" name="Google Shape;8106;p997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107" name="Google Shape;8107;p997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108" name="Google Shape;8108;p997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09" name="Google Shape;8109;p997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10" name="Google Shape;8110;p997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11" name="Google Shape;8111;p997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oogle Shape;82;p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" name="Google Shape;83;p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" name="Google Shape;84;p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5" name="Google Shape;85;p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86;p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" name="Google Shape;87;p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5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" name="Google Shape;90;p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" name="Google Shape;91;p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2" name="Google Shape;832;p1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3" name="Google Shape;833;p1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4" name="Google Shape;834;p1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5" name="Google Shape;835;p1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6" name="Google Shape;836;p1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7" name="Google Shape;837;p1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8" name="Google Shape;838;p1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9" name="Google Shape;839;p1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0" name="Google Shape;840;p1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 2">
    <p:spTree>
      <p:nvGrpSpPr>
        <p:cNvPr id="1" name="Shape 8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3" name="Google Shape;8113;p99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14" name="Google Shape;8114;p99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15" name="Google Shape;8115;p99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116" name="Google Shape;8116;p99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117" name="Google Shape;8117;p99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118" name="Google Shape;8118;p9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19" name="Google Shape;8119;p99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120" name="Google Shape;8120;p9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 2">
    <p:bg>
      <p:bgPr>
        <a:solidFill>
          <a:schemeClr val="lt2"/>
        </a:solidFill>
        <a:effectLst/>
      </p:bgPr>
    </p:bg>
    <p:spTree>
      <p:nvGrpSpPr>
        <p:cNvPr id="1" name="Shape 8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22" name="Google Shape;8122;p99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123" name="Google Shape;8123;p99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24" name="Google Shape;8124;p99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25" name="Google Shape;8125;p99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126" name="Google Shape;8126;p9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127" name="Google Shape;8127;p99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28" name="Google Shape;8128;p99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 2">
    <p:spTree>
      <p:nvGrpSpPr>
        <p:cNvPr id="1" name="Shape 8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30" name="Google Shape;8130;p100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131" name="Google Shape;8131;p100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132" name="Google Shape;8132;p100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133" name="Google Shape;8133;p100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34" name="Google Shape;8134;p100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135" name="Google Shape;8135;p100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136" name="Google Shape;8136;p10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 3">
    <p:spTree>
      <p:nvGrpSpPr>
        <p:cNvPr id="1" name="Shape 8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38" name="Google Shape;8138;p10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39" name="Google Shape;8139;p10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40" name="Google Shape;8140;p10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41" name="Google Shape;8141;p10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42" name="Google Shape;8142;p10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43" name="Google Shape;8143;p10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144" name="Google Shape;8144;p10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145" name="Google Shape;8145;p10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46" name="Google Shape;8146;p10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47" name="Google Shape;8147;p10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48" name="Google Shape;8148;p10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149" name="Google Shape;8149;p10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 4">
    <p:spTree>
      <p:nvGrpSpPr>
        <p:cNvPr id="1" name="Shape 8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51" name="Google Shape;8151;p10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52" name="Google Shape;8152;p10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53" name="Google Shape;8153;p10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54" name="Google Shape;8154;p10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55" name="Google Shape;8155;p10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56" name="Google Shape;8156;p10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157" name="Google Shape;8157;p10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158" name="Google Shape;8158;p10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59" name="Google Shape;8159;p10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60" name="Google Shape;8160;p10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61" name="Google Shape;8161;p10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162" name="Google Shape;8162;p100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 5">
    <p:spTree>
      <p:nvGrpSpPr>
        <p:cNvPr id="1" name="Shape 8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64" name="Google Shape;8164;p100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65" name="Google Shape;8165;p100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66" name="Google Shape;8166;p100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67" name="Google Shape;8167;p10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68" name="Google Shape;8168;p10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69" name="Google Shape;8169;p10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170" name="Google Shape;8170;p10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171" name="Google Shape;8171;p10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72" name="Google Shape;8172;p10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73" name="Google Shape;8173;p10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74" name="Google Shape;8174;p10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175" name="Google Shape;8175;p100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 2">
    <p:spTree>
      <p:nvGrpSpPr>
        <p:cNvPr id="1" name="Shape 8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77" name="Google Shape;8177;p10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78" name="Google Shape;8178;p100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179" name="Google Shape;8179;p10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180" name="Google Shape;8180;p10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81" name="Google Shape;8181;p10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82" name="Google Shape;8182;p10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83" name="Google Shape;8183;p10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84" name="Google Shape;8184;p100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85" name="Google Shape;8185;p100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86" name="Google Shape;8186;p10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87" name="Google Shape;8187;p10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 2">
    <p:spTree>
      <p:nvGrpSpPr>
        <p:cNvPr id="1" name="Shape 8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89" name="Google Shape;8189;p10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190" name="Google Shape;8190;p10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91" name="Google Shape;8191;p10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92" name="Google Shape;8192;p10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93" name="Google Shape;8193;p10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94" name="Google Shape;8194;p10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95" name="Google Shape;8195;p100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196" name="Google Shape;8196;p100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97" name="Google Shape;8197;p100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198" name="Google Shape;8198;p100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99" name="Google Shape;8199;p10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00" name="Google Shape;8200;p10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01" name="Google Shape;8201;p10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 2">
    <p:spTree>
      <p:nvGrpSpPr>
        <p:cNvPr id="1" name="Shape 8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03" name="Google Shape;8203;p10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04" name="Google Shape;8204;p10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05" name="Google Shape;8205;p10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06" name="Google Shape;8206;p10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07" name="Google Shape;8207;p10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208" name="Google Shape;8208;p10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09" name="Google Shape;8209;p10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10" name="Google Shape;8210;p10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11" name="Google Shape;8211;p10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 2">
    <p:spTree>
      <p:nvGrpSpPr>
        <p:cNvPr id="1" name="Shape 8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13" name="Google Shape;8213;p100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214" name="Google Shape;8214;p100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15" name="Google Shape;8215;p100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216" name="Google Shape;8216;p100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17" name="Google Shape;8217;p100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18" name="Google Shape;8218;p100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219" name="Google Shape;8219;p10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220" name="Google Shape;8220;p10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8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2" name="Google Shape;842;p13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3" name="Google Shape;843;p13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4" name="Google Shape;844;p13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45" name="Google Shape;845;p13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46" name="Google Shape;846;p13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47" name="Google Shape;847;p13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8" name="Google Shape;848;p13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9" name="Google Shape;849;p1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 2">
    <p:spTree>
      <p:nvGrpSpPr>
        <p:cNvPr id="1" name="Shape 8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22" name="Google Shape;8222;p10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23" name="Google Shape;8223;p10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24" name="Google Shape;8224;p10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225" name="Google Shape;8225;p10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26" name="Google Shape;8226;p10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27" name="Google Shape;8227;p10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28" name="Google Shape;8228;p10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29" name="Google Shape;8229;p10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 2">
    <p:spTree>
      <p:nvGrpSpPr>
        <p:cNvPr id="1" name="Shape 8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31" name="Google Shape;8231;p100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32" name="Google Shape;8232;p100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33" name="Google Shape;8233;p100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234" name="Google Shape;8234;p100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235" name="Google Shape;8235;p100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236" name="Google Shape;8236;p10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37" name="Google Shape;8237;p100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238" name="Google Shape;8238;p10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 2">
    <p:bg>
      <p:bgPr>
        <a:solidFill>
          <a:schemeClr val="lt2"/>
        </a:solidFill>
        <a:effectLst/>
      </p:bgPr>
    </p:bg>
    <p:spTree>
      <p:nvGrpSpPr>
        <p:cNvPr id="1" name="Shape 8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40" name="Google Shape;8240;p101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241" name="Google Shape;8241;p101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42" name="Google Shape;8242;p101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43" name="Google Shape;8243;p101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244" name="Google Shape;8244;p10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245" name="Google Shape;8245;p101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46" name="Google Shape;8246;p101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 2">
    <p:spTree>
      <p:nvGrpSpPr>
        <p:cNvPr id="1" name="Shape 8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48" name="Google Shape;8248;p10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249" name="Google Shape;8249;p10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250" name="Google Shape;8250;p10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251" name="Google Shape;8251;p10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52" name="Google Shape;8252;p10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253" name="Google Shape;8253;p10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254" name="Google Shape;8254;p10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 3">
    <p:spTree>
      <p:nvGrpSpPr>
        <p:cNvPr id="1" name="Shape 8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56" name="Google Shape;8256;p10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57" name="Google Shape;8257;p10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58" name="Google Shape;8258;p10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59" name="Google Shape;8259;p10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60" name="Google Shape;8260;p10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61" name="Google Shape;8261;p10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262" name="Google Shape;8262;p10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63" name="Google Shape;8263;p10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64" name="Google Shape;8264;p10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65" name="Google Shape;8265;p10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66" name="Google Shape;8266;p10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267" name="Google Shape;8267;p10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 4">
    <p:spTree>
      <p:nvGrpSpPr>
        <p:cNvPr id="1" name="Shape 8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69" name="Google Shape;8269;p10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70" name="Google Shape;8270;p10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71" name="Google Shape;8271;p10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72" name="Google Shape;8272;p10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73" name="Google Shape;8273;p10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74" name="Google Shape;8274;p10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275" name="Google Shape;8275;p10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76" name="Google Shape;8276;p10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77" name="Google Shape;8277;p10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78" name="Google Shape;8278;p10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79" name="Google Shape;8279;p10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280" name="Google Shape;8280;p10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 5">
    <p:spTree>
      <p:nvGrpSpPr>
        <p:cNvPr id="1" name="Shape 8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2" name="Google Shape;8282;p10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83" name="Google Shape;8283;p10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84" name="Google Shape;8284;p10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85" name="Google Shape;8285;p10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86" name="Google Shape;8286;p10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87" name="Google Shape;8287;p10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288" name="Google Shape;8288;p10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89" name="Google Shape;8289;p10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90" name="Google Shape;8290;p10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91" name="Google Shape;8291;p10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92" name="Google Shape;8292;p10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293" name="Google Shape;8293;p101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4 2">
    <p:spTree>
      <p:nvGrpSpPr>
        <p:cNvPr id="1" name="Shape 8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95" name="Google Shape;8295;p10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96" name="Google Shape;8296;p10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97" name="Google Shape;8297;p10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98" name="Google Shape;8298;p10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99" name="Google Shape;8299;p10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00" name="Google Shape;8300;p10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01" name="Google Shape;8301;p101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02" name="Google Shape;8302;p10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03" name="Google Shape;8303;p10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04" name="Google Shape;8304;p10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 2">
    <p:spTree>
      <p:nvGrpSpPr>
        <p:cNvPr id="1" name="Shape 8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06" name="Google Shape;8306;p10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07" name="Google Shape;8307;p101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308" name="Google Shape;8308;p10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09" name="Google Shape;8309;p10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10" name="Google Shape;8310;p10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11" name="Google Shape;8311;p10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12" name="Google Shape;8312;p10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13" name="Google Shape;8313;p101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14" name="Google Shape;8314;p101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15" name="Google Shape;8315;p10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16" name="Google Shape;8316;p10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 2">
    <p:spTree>
      <p:nvGrpSpPr>
        <p:cNvPr id="1" name="Shape 83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18" name="Google Shape;8318;p10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19" name="Google Shape;8319;p10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20" name="Google Shape;8320;p10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21" name="Google Shape;8321;p10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22" name="Google Shape;8322;p10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23" name="Google Shape;8323;p101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24" name="Google Shape;8324;p101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325" name="Google Shape;8325;p101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26" name="Google Shape;8326;p101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327" name="Google Shape;8327;p101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28" name="Google Shape;8328;p10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29" name="Google Shape;8329;p10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30" name="Google Shape;8330;p10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bg>
      <p:bgPr>
        <a:solidFill>
          <a:schemeClr val="lt2"/>
        </a:solidFill>
        <a:effectLst/>
      </p:bgPr>
    </p:bg>
    <p:spTree>
      <p:nvGrpSpPr>
        <p:cNvPr id="1" name="Shape 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1" name="Google Shape;851;p13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52" name="Google Shape;852;p13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3" name="Google Shape;853;p13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4" name="Google Shape;854;p13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55" name="Google Shape;855;p1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56" name="Google Shape;856;p13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7" name="Google Shape;857;p13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 2">
    <p:spTree>
      <p:nvGrpSpPr>
        <p:cNvPr id="1" name="Shape 83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32" name="Google Shape;8332;p10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33" name="Google Shape;8333;p10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34" name="Google Shape;8334;p10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35" name="Google Shape;8335;p10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36" name="Google Shape;8336;p10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37" name="Google Shape;8337;p10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38" name="Google Shape;8338;p10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39" name="Google Shape;8339;p10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40" name="Google Shape;8340;p10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 2">
    <p:spTree>
      <p:nvGrpSpPr>
        <p:cNvPr id="1" name="Shape 8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42" name="Google Shape;8342;p101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343" name="Google Shape;8343;p101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44" name="Google Shape;8344;p101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345" name="Google Shape;8345;p101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46" name="Google Shape;8346;p101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47" name="Google Shape;8347;p101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348" name="Google Shape;8348;p10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349" name="Google Shape;8349;p101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 2">
    <p:spTree>
      <p:nvGrpSpPr>
        <p:cNvPr id="1" name="Shape 83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51" name="Google Shape;8351;p10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52" name="Google Shape;8352;p10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53" name="Google Shape;8353;p10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354" name="Google Shape;8354;p10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55" name="Google Shape;8355;p10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56" name="Google Shape;8356;p10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57" name="Google Shape;8357;p10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58" name="Google Shape;8358;p10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">
    <p:spTree>
      <p:nvGrpSpPr>
        <p:cNvPr id="1" name="Shape 8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60" name="Google Shape;8360;p1021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361" name="Google Shape;8361;p10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362" name="Google Shape;8362;p1021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363" name="Google Shape;8363;p1021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364" name="Google Shape;8364;p1021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365" name="Google Shape;8365;p1021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66" name="Google Shape;8366;p1021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67" name="Google Shape;8367;p1021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68" name="Google Shape;8368;p1021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3">
    <p:spTree>
      <p:nvGrpSpPr>
        <p:cNvPr id="1" name="Shape 8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70" name="Google Shape;8370;p1022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371" name="Google Shape;8371;p10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372" name="Google Shape;8372;p1022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373" name="Google Shape;8373;p1022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374" name="Google Shape;8374;p102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375" name="Google Shape;8375;p1022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76" name="Google Shape;8376;p1022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77" name="Google Shape;8377;p1022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78" name="Google Shape;8378;p1022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4">
    <p:spTree>
      <p:nvGrpSpPr>
        <p:cNvPr id="1" name="Shape 8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80" name="Google Shape;8380;p1023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381" name="Google Shape;8381;p10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382" name="Google Shape;8382;p1023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383" name="Google Shape;8383;p1023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384" name="Google Shape;8384;p10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385" name="Google Shape;8385;p1023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86" name="Google Shape;8386;p1023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87" name="Google Shape;8387;p1023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88" name="Google Shape;8388;p1023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83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0" name="Google Shape;8390;p1024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91" name="Google Shape;8391;p1024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92" name="Google Shape;8392;p1024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93" name="Google Shape;8393;p1024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94" name="Google Shape;8394;p10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395" name="Google Shape;8395;p1024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8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" name="Google Shape;8397;p102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98" name="Google Shape;8398;p102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99" name="Google Shape;8399;p102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400" name="Google Shape;8400;p10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401" name="Google Shape;8401;p10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402" name="Google Shape;8402;p102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03" name="Google Shape;8403;p102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04" name="Google Shape;8404;p102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405" name="Google Shape;8405;p10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 2">
    <p:spTree>
      <p:nvGrpSpPr>
        <p:cNvPr id="1" name="Shape 8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07" name="Google Shape;8407;p1026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408" name="Google Shape;8408;p10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409" name="Google Shape;8409;p1026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410" name="Google Shape;8410;p1026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11" name="Google Shape;8411;p1026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412" name="Google Shape;8412;p1026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13" name="Google Shape;8413;p1026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14" name="Google Shape;8414;p1026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15" name="Google Shape;8415;p1026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">
    <p:spTree>
      <p:nvGrpSpPr>
        <p:cNvPr id="1" name="Shape 8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17" name="Google Shape;8417;p102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18" name="Google Shape;8418;p1027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19" name="Google Shape;8419;p1027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20" name="Google Shape;8420;p1027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21" name="Google Shape;8421;p10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422" name="Google Shape;8422;p1027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9" name="Google Shape;859;p13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0" name="Google Shape;860;p13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1" name="Google Shape;861;p13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2" name="Google Shape;862;p1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3" name="Google Shape;863;p1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4" name="Google Shape;864;p1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65" name="Google Shape;865;p1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6" name="Google Shape;866;p1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7" name="Google Shape;867;p1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8" name="Google Shape;868;p1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9" name="Google Shape;869;p1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70" name="Google Shape;870;p13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 2">
    <p:spTree>
      <p:nvGrpSpPr>
        <p:cNvPr id="1" name="Shape 84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24" name="Google Shape;8424;p102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25" name="Google Shape;8425;p102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26" name="Google Shape;8426;p102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427" name="Google Shape;8427;p10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428" name="Google Shape;8428;p10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429" name="Google Shape;8429;p102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30" name="Google Shape;8430;p102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31" name="Google Shape;8431;p102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432" name="Google Shape;8432;p10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 3">
    <p:spTree>
      <p:nvGrpSpPr>
        <p:cNvPr id="1" name="Shape 8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34" name="Google Shape;8434;p1029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435" name="Google Shape;8435;p10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436" name="Google Shape;8436;p1029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437" name="Google Shape;8437;p1029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38" name="Google Shape;8438;p1029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439" name="Google Shape;8439;p1029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40" name="Google Shape;8440;p1029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41" name="Google Shape;8441;p1029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42" name="Google Shape;8442;p1029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 2">
    <p:spTree>
      <p:nvGrpSpPr>
        <p:cNvPr id="1" name="Shape 84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44" name="Google Shape;8444;p1030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45" name="Google Shape;8445;p1030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46" name="Google Shape;8446;p1030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47" name="Google Shape;8447;p1030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48" name="Google Shape;8448;p10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449" name="Google Shape;8449;p1030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84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1" name="Google Shape;8451;p103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52" name="Google Shape;8452;p103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53" name="Google Shape;8453;p103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454" name="Google Shape;8454;p10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455" name="Google Shape;8455;p10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456" name="Google Shape;8456;p103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57" name="Google Shape;8457;p103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58" name="Google Shape;8458;p103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459" name="Google Shape;8459;p10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8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61" name="Google Shape;8461;p1032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62" name="Google Shape;8462;p103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63" name="Google Shape;8463;p103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64" name="Google Shape;8464;p1032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465" name="Google Shape;8465;p10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84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67" name="Google Shape;8467;p103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468" name="Google Shape;8468;p10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8469" name="Google Shape;8469;p103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70" name="Google Shape;8470;p1033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71" name="Google Shape;8471;p1033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84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73" name="Google Shape;8473;p103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74" name="Google Shape;8474;p103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75" name="Google Shape;8475;p1034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76" name="Google Shape;8476;p1034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77" name="Google Shape;8477;p1034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478" name="Google Shape;8478;p10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 4">
    <p:spTree>
      <p:nvGrpSpPr>
        <p:cNvPr id="1" name="Shape 84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80" name="Google Shape;8480;p1035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481" name="Google Shape;8481;p10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482" name="Google Shape;8482;p1035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483" name="Google Shape;8483;p1035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84" name="Google Shape;8484;p1035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485" name="Google Shape;8485;p1035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86" name="Google Shape;8486;p1035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87" name="Google Shape;8487;p1035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88" name="Google Shape;8488;p1035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 3">
    <p:spTree>
      <p:nvGrpSpPr>
        <p:cNvPr id="1" name="Shape 8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0" name="Google Shape;8490;p1036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91" name="Google Shape;8491;p1036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92" name="Google Shape;8492;p1036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93" name="Google Shape;8493;p1036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94" name="Google Shape;8494;p10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495" name="Google Shape;8495;p1036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 2">
    <p:spTree>
      <p:nvGrpSpPr>
        <p:cNvPr id="1" name="Shape 84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7" name="Google Shape;8497;p103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98" name="Google Shape;8498;p103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99" name="Google Shape;8499;p103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500" name="Google Shape;8500;p10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501" name="Google Shape;8501;p10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502" name="Google Shape;8502;p103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03" name="Google Shape;8503;p103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04" name="Google Shape;8504;p103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505" name="Google Shape;8505;p10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8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2" name="Google Shape;872;p1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3" name="Google Shape;873;p1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4" name="Google Shape;874;p1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5" name="Google Shape;875;p1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6" name="Google Shape;876;p1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7" name="Google Shape;877;p13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8" name="Google Shape;878;p13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9" name="Google Shape;879;p1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0" name="Google Shape;880;p1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1" name="Google Shape;881;p1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 5">
    <p:spTree>
      <p:nvGrpSpPr>
        <p:cNvPr id="1" name="Shape 8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07" name="Google Shape;8507;p1038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508" name="Google Shape;8508;p10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509" name="Google Shape;8509;p1038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510" name="Google Shape;8510;p1038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511" name="Google Shape;8511;p1038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512" name="Google Shape;8512;p1038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13" name="Google Shape;8513;p1038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14" name="Google Shape;8514;p1038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15" name="Google Shape;8515;p1038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 3">
    <p:spTree>
      <p:nvGrpSpPr>
        <p:cNvPr id="1" name="Shape 8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17" name="Google Shape;8517;p103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18" name="Google Shape;8518;p103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19" name="Google Shape;8519;p103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520" name="Google Shape;8520;p10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521" name="Google Shape;8521;p10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522" name="Google Shape;8522;p103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23" name="Google Shape;8523;p103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24" name="Google Shape;8524;p103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525" name="Google Shape;8525;p10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85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27" name="Google Shape;8527;p1040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28" name="Google Shape;8528;p1040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8529" name="Google Shape;8529;p104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530" name="Google Shape;8530;p10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531" name="Google Shape;8531;p10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8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33" name="Google Shape;8533;p1041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34" name="Google Shape;8534;p1041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8535" name="Google Shape;8535;p1041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8536" name="Google Shape;8536;p104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537" name="Google Shape;8537;p10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538" name="Google Shape;8538;p10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85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40" name="Google Shape;8540;p1042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41" name="Google Shape;8541;p1042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42" name="Google Shape;8542;p1042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43" name="Google Shape;8543;p1042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44" name="Google Shape;8544;p1042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45" name="Google Shape;8545;p1042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546" name="Google Shape;8546;p1042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47" name="Google Shape;8547;p1042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548" name="Google Shape;8548;p10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85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50" name="Google Shape;8550;p104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51" name="Google Shape;8551;p104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52" name="Google Shape;8552;p104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53" name="Google Shape;8553;p10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54" name="Google Shape;8554;p10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55" name="Google Shape;8555;p10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556" name="Google Shape;8556;p10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557" name="Google Shape;8557;p10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58" name="Google Shape;8558;p10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559" name="Google Shape;8559;p10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60" name="Google Shape;8560;p10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561" name="Google Shape;8561;p104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8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63" name="Google Shape;8563;p1044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64" name="Google Shape;8564;p1044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65" name="Google Shape;8565;p1044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66" name="Google Shape;8566;p1044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67" name="Google Shape;8567;p1044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68" name="Google Shape;8568;p1044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569" name="Google Shape;8569;p1044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70" name="Google Shape;8570;p1044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571" name="Google Shape;8571;p10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85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73" name="Google Shape;8573;p104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74" name="Google Shape;8574;p104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75" name="Google Shape;8575;p104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76" name="Google Shape;8576;p10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77" name="Google Shape;8577;p10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78" name="Google Shape;8578;p10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579" name="Google Shape;8579;p10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580" name="Google Shape;8580;p10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81" name="Google Shape;8581;p10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582" name="Google Shape;8582;p10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83" name="Google Shape;8583;p10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584" name="Google Shape;8584;p104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 2">
    <p:spTree>
      <p:nvGrpSpPr>
        <p:cNvPr id="1" name="Shape 8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86" name="Google Shape;8586;p1046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87" name="Google Shape;8587;p1046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88" name="Google Shape;8588;p1046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89" name="Google Shape;8589;p1046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90" name="Google Shape;8590;p1046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91" name="Google Shape;8591;p1046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592" name="Google Shape;8592;p1046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93" name="Google Shape;8593;p1046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594" name="Google Shape;8594;p10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85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96" name="Google Shape;8596;p104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97" name="Google Shape;8597;p104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98" name="Google Shape;8598;p104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599" name="Google Shape;8599;p104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600" name="Google Shape;8600;p104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601" name="Google Shape;8601;p104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02" name="Google Shape;8602;p104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603" name="Google Shape;8603;p10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8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3" name="Google Shape;883;p1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4" name="Google Shape;884;p14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85" name="Google Shape;885;p1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6" name="Google Shape;886;p1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7" name="Google Shape;887;p1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8" name="Google Shape;888;p1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9" name="Google Shape;889;p1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0" name="Google Shape;890;p14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1" name="Google Shape;891;p14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2" name="Google Shape;892;p1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3" name="Google Shape;893;p1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8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05" name="Google Shape;8605;p104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606" name="Google Shape;8606;p104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07" name="Google Shape;8607;p104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08" name="Google Shape;8608;p104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609" name="Google Shape;8609;p10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610" name="Google Shape;8610;p104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11" name="Google Shape;8611;p104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8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13" name="Google Shape;8613;p104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614" name="Google Shape;8614;p104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615" name="Google Shape;8615;p104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616" name="Google Shape;8616;p104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17" name="Google Shape;8617;p104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618" name="Google Shape;8618;p104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619" name="Google Shape;8619;p10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3">
    <p:spTree>
      <p:nvGrpSpPr>
        <p:cNvPr id="1" name="Shape 8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21" name="Google Shape;8621;p105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22" name="Google Shape;8622;p105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23" name="Google Shape;8623;p105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24" name="Google Shape;8624;p10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25" name="Google Shape;8625;p10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26" name="Google Shape;8626;p10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627" name="Google Shape;8627;p10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28" name="Google Shape;8628;p10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29" name="Google Shape;8629;p10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30" name="Google Shape;8630;p10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31" name="Google Shape;8631;p10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632" name="Google Shape;8632;p105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 3">
    <p:spTree>
      <p:nvGrpSpPr>
        <p:cNvPr id="1" name="Shape 8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34" name="Google Shape;8634;p1051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35" name="Google Shape;8635;p1051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636" name="Google Shape;8636;p1051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37" name="Google Shape;8637;p1051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638" name="Google Shape;8638;p1051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39" name="Google Shape;8639;p1051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640" name="Google Shape;8640;p1051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41" name="Google Shape;8641;p1051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642" name="Google Shape;8642;p10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 2">
    <p:spTree>
      <p:nvGrpSpPr>
        <p:cNvPr id="1" name="Shape 86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44" name="Google Shape;8644;p105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45" name="Google Shape;8645;p105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46" name="Google Shape;8646;p105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647" name="Google Shape;8647;p10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648" name="Google Shape;8648;p105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649" name="Google Shape;8649;p105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50" name="Google Shape;8650;p105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651" name="Google Shape;8651;p10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 2">
    <p:bg>
      <p:bgPr>
        <a:solidFill>
          <a:schemeClr val="lt2"/>
        </a:solidFill>
        <a:effectLst/>
      </p:bgPr>
    </p:bg>
    <p:spTree>
      <p:nvGrpSpPr>
        <p:cNvPr id="1" name="Shape 8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53" name="Google Shape;8653;p105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654" name="Google Shape;8654;p105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55" name="Google Shape;8655;p105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56" name="Google Shape;8656;p105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657" name="Google Shape;8657;p10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658" name="Google Shape;8658;p105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59" name="Google Shape;8659;p105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 2">
    <p:spTree>
      <p:nvGrpSpPr>
        <p:cNvPr id="1" name="Shape 86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61" name="Google Shape;8661;p105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662" name="Google Shape;8662;p105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663" name="Google Shape;8663;p105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664" name="Google Shape;8664;p105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65" name="Google Shape;8665;p105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666" name="Google Shape;8666;p105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667" name="Google Shape;8667;p10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4">
    <p:spTree>
      <p:nvGrpSpPr>
        <p:cNvPr id="1" name="Shape 8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69" name="Google Shape;8669;p10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70" name="Google Shape;8670;p10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71" name="Google Shape;8671;p10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72" name="Google Shape;8672;p10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73" name="Google Shape;8673;p10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74" name="Google Shape;8674;p10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675" name="Google Shape;8675;p10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76" name="Google Shape;8676;p10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77" name="Google Shape;8677;p10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78" name="Google Shape;8678;p10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79" name="Google Shape;8679;p10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680" name="Google Shape;8680;p105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5">
    <p:spTree>
      <p:nvGrpSpPr>
        <p:cNvPr id="1" name="Shape 86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82" name="Google Shape;8682;p105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83" name="Google Shape;8683;p105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84" name="Google Shape;8684;p105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85" name="Google Shape;8685;p10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86" name="Google Shape;8686;p10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87" name="Google Shape;8687;p10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688" name="Google Shape;8688;p10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89" name="Google Shape;8689;p10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90" name="Google Shape;8690;p10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91" name="Google Shape;8691;p10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92" name="Google Shape;8692;p10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693" name="Google Shape;8693;p105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 4">
    <p:spTree>
      <p:nvGrpSpPr>
        <p:cNvPr id="1" name="Shape 8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5" name="Google Shape;8695;p1057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96" name="Google Shape;8696;p1057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697" name="Google Shape;8697;p1057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98" name="Google Shape;8698;p1057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699" name="Google Shape;8699;p1057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00" name="Google Shape;8700;p1057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701" name="Google Shape;8701;p1057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02" name="Google Shape;8702;p1057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703" name="Google Shape;8703;p10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5" name="Google Shape;895;p1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6" name="Google Shape;896;p1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7" name="Google Shape;897;p1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8" name="Google Shape;898;p1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9" name="Google Shape;899;p1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0" name="Google Shape;900;p14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1" name="Google Shape;901;p14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02" name="Google Shape;902;p14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3" name="Google Shape;903;p14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04" name="Google Shape;904;p14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5" name="Google Shape;905;p1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6" name="Google Shape;906;p1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7" name="Google Shape;907;p1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 3">
    <p:spTree>
      <p:nvGrpSpPr>
        <p:cNvPr id="1" name="Shape 87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5" name="Google Shape;8705;p105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06" name="Google Shape;8706;p105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07" name="Google Shape;8707;p105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708" name="Google Shape;8708;p105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709" name="Google Shape;8709;p105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710" name="Google Shape;8710;p105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11" name="Google Shape;8711;p105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712" name="Google Shape;8712;p10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 3">
    <p:bg>
      <p:bgPr>
        <a:solidFill>
          <a:schemeClr val="lt2"/>
        </a:solidFill>
        <a:effectLst/>
      </p:bgPr>
    </p:bg>
    <p:spTree>
      <p:nvGrpSpPr>
        <p:cNvPr id="1" name="Shape 87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14" name="Google Shape;8714;p105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715" name="Google Shape;8715;p105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16" name="Google Shape;8716;p105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17" name="Google Shape;8717;p105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718" name="Google Shape;8718;p10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719" name="Google Shape;8719;p105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20" name="Google Shape;8720;p105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 3">
    <p:spTree>
      <p:nvGrpSpPr>
        <p:cNvPr id="1" name="Shape 87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22" name="Google Shape;8722;p106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723" name="Google Shape;8723;p106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724" name="Google Shape;8724;p106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725" name="Google Shape;8725;p106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26" name="Google Shape;8726;p106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727" name="Google Shape;8727;p106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728" name="Google Shape;8728;p10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87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30" name="Google Shape;8730;p10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31" name="Google Shape;8731;p10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32" name="Google Shape;8732;p10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733" name="Google Shape;8733;p10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34" name="Google Shape;8734;p10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35" name="Google Shape;8735;p10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36" name="Google Shape;8736;p10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37" name="Google Shape;8737;p10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87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39" name="Google Shape;8739;p106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40" name="Google Shape;8740;p106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41" name="Google Shape;8741;p10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42" name="Google Shape;8742;p10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43" name="Google Shape;8743;p10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44" name="Google Shape;8744;p10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745" name="Google Shape;8745;p10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46" name="Google Shape;8746;p10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47" name="Google Shape;8747;p10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48" name="Google Shape;8748;p10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49" name="Google Shape;8749;p10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750" name="Google Shape;8750;p106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 2">
    <p:spTree>
      <p:nvGrpSpPr>
        <p:cNvPr id="1" name="Shape 87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52" name="Google Shape;8752;p10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53" name="Google Shape;8753;p10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54" name="Google Shape;8754;p10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755" name="Google Shape;8755;p10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56" name="Google Shape;8756;p10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57" name="Google Shape;8757;p10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58" name="Google Shape;8758;p10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59" name="Google Shape;8759;p10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 2">
    <p:spTree>
      <p:nvGrpSpPr>
        <p:cNvPr id="1" name="Shape 87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61" name="Google Shape;8761;p10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62" name="Google Shape;8762;p10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63" name="Google Shape;8763;p10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64" name="Google Shape;8764;p10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65" name="Google Shape;8765;p10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66" name="Google Shape;8766;p10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767" name="Google Shape;8767;p10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68" name="Google Shape;8768;p10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69" name="Google Shape;8769;p10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70" name="Google Shape;8770;p10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71" name="Google Shape;8771;p10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772" name="Google Shape;8772;p106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87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4" name="Google Shape;8774;p10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75" name="Google Shape;8775;p106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776" name="Google Shape;8776;p10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77" name="Google Shape;8777;p10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78" name="Google Shape;8778;p10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79" name="Google Shape;8779;p10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80" name="Google Shape;8780;p10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81" name="Google Shape;8781;p106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82" name="Google Shape;8782;p106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83" name="Google Shape;8783;p10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84" name="Google Shape;8784;p10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87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86" name="Google Shape;8786;p10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87" name="Google Shape;8787;p10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88" name="Google Shape;8788;p10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89" name="Google Shape;8789;p10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90" name="Google Shape;8790;p10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91" name="Google Shape;8791;p10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92" name="Google Shape;8792;p106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793" name="Google Shape;8793;p106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94" name="Google Shape;8794;p106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795" name="Google Shape;8795;p106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96" name="Google Shape;8796;p10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97" name="Google Shape;8797;p10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98" name="Google Shape;8798;p10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87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00" name="Google Shape;8800;p10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01" name="Google Shape;8801;p10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02" name="Google Shape;8802;p10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03" name="Google Shape;8803;p10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04" name="Google Shape;8804;p10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805" name="Google Shape;8805;p10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06" name="Google Shape;8806;p10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07" name="Google Shape;8807;p10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08" name="Google Shape;8808;p10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9" name="Google Shape;909;p14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10" name="Google Shape;910;p14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11" name="Google Shape;911;p14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12" name="Google Shape;912;p14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3" name="Google Shape;913;p14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14" name="Google Shape;914;p14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15" name="Google Shape;915;p1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88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10" name="Google Shape;8810;p106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811" name="Google Shape;8811;p106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12" name="Google Shape;8812;p106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813" name="Google Shape;8813;p106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14" name="Google Shape;8814;p106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15" name="Google Shape;8815;p106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816" name="Google Shape;8816;p10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817" name="Google Shape;8817;p106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88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19" name="Google Shape;8819;p10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20" name="Google Shape;8820;p10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21" name="Google Shape;8821;p10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822" name="Google Shape;8822;p10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23" name="Google Shape;8823;p10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24" name="Google Shape;8824;p10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25" name="Google Shape;8825;p10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26" name="Google Shape;8826;p10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 2">
    <p:spTree>
      <p:nvGrpSpPr>
        <p:cNvPr id="1" name="Shape 8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28" name="Google Shape;8828;p10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29" name="Google Shape;8829;p10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30" name="Google Shape;8830;p10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31" name="Google Shape;8831;p10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32" name="Google Shape;8832;p10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33" name="Google Shape;8833;p10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834" name="Google Shape;8834;p10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35" name="Google Shape;8835;p10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36" name="Google Shape;8836;p10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37" name="Google Shape;8837;p10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38" name="Google Shape;8838;p10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839" name="Google Shape;8839;p107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3">
    <p:spTree>
      <p:nvGrpSpPr>
        <p:cNvPr id="1" name="Shape 88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1" name="Google Shape;8841;p1071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42" name="Google Shape;8842;p1071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8843" name="Google Shape;8843;p1071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8844" name="Google Shape;8844;p1071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45" name="Google Shape;8845;p1071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8846" name="Google Shape;8846;p10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88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8" name="Google Shape;8848;p107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49" name="Google Shape;8849;p107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50" name="Google Shape;8850;p107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851" name="Google Shape;8851;p107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852" name="Google Shape;8852;p107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853" name="Google Shape;8853;p107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54" name="Google Shape;8854;p107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855" name="Google Shape;8855;p10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">
    <p:bg>
      <p:bgPr>
        <a:solidFill>
          <a:schemeClr val="lt2"/>
        </a:solidFill>
        <a:effectLst/>
      </p:bgPr>
    </p:bg>
    <p:spTree>
      <p:nvGrpSpPr>
        <p:cNvPr id="1" name="Shape 8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57" name="Google Shape;8857;p107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858" name="Google Shape;8858;p107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59" name="Google Shape;8859;p107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60" name="Google Shape;8860;p107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861" name="Google Shape;8861;p10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862" name="Google Shape;8862;p107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63" name="Google Shape;8863;p107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8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5" name="Google Shape;8865;p107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66" name="Google Shape;8866;p107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867" name="Google Shape;8867;p107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868" name="Google Shape;8868;p107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69" name="Google Shape;8869;p107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870" name="Google Shape;8870;p107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871" name="Google Shape;8871;p10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88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73" name="Google Shape;8873;p107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74" name="Google Shape;8874;p107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75" name="Google Shape;8875;p107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76" name="Google Shape;8876;p10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77" name="Google Shape;8877;p10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78" name="Google Shape;8878;p10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879" name="Google Shape;8879;p10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80" name="Google Shape;8880;p10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81" name="Google Shape;8881;p10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82" name="Google Shape;8882;p10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83" name="Google Shape;8883;p10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884" name="Google Shape;8884;p107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8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86" name="Google Shape;8886;p107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87" name="Google Shape;8887;p107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88" name="Google Shape;8888;p10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89" name="Google Shape;8889;p10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90" name="Google Shape;8890;p10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91" name="Google Shape;8891;p10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892" name="Google Shape;8892;p10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93" name="Google Shape;8893;p10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94" name="Google Shape;8894;p10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95" name="Google Shape;8895;p10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96" name="Google Shape;8896;p10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897" name="Google Shape;8897;p107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5">
    <p:spTree>
      <p:nvGrpSpPr>
        <p:cNvPr id="1" name="Shape 8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99" name="Google Shape;8899;p10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00" name="Google Shape;8900;p10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01" name="Google Shape;8901;p10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02" name="Google Shape;8902;p10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03" name="Google Shape;8903;p10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04" name="Google Shape;8904;p107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05" name="Google Shape;8905;p107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06" name="Google Shape;8906;p10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07" name="Google Shape;8907;p10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08" name="Google Shape;8908;p10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7" name="Google Shape;917;p14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8" name="Google Shape;918;p14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9" name="Google Shape;919;p14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0" name="Google Shape;920;p1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1" name="Google Shape;921;p1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2" name="Google Shape;922;p1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3" name="Google Shape;923;p1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4" name="Google Shape;924;p1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5" name="Google Shape;925;p1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6" name="Google Shape;926;p1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7" name="Google Shape;927;p1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8" name="Google Shape;928;p14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8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10" name="Google Shape;8910;p107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11" name="Google Shape;8911;p107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912" name="Google Shape;8912;p10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13" name="Google Shape;8913;p10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14" name="Google Shape;8914;p10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15" name="Google Shape;8915;p10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16" name="Google Shape;8916;p10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17" name="Google Shape;8917;p107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18" name="Google Shape;8918;p107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19" name="Google Shape;8919;p10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20" name="Google Shape;8920;p10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8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22" name="Google Shape;8922;p10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23" name="Google Shape;8923;p10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24" name="Google Shape;8924;p10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25" name="Google Shape;8925;p10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26" name="Google Shape;8926;p10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27" name="Google Shape;8927;p10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28" name="Google Shape;8928;p107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929" name="Google Shape;8929;p107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30" name="Google Shape;8930;p107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931" name="Google Shape;8931;p107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32" name="Google Shape;8932;p10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33" name="Google Shape;8933;p10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34" name="Google Shape;8934;p10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89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36" name="Google Shape;8936;p10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37" name="Google Shape;8937;p10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38" name="Google Shape;8938;p10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39" name="Google Shape;8939;p10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40" name="Google Shape;8940;p10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41" name="Google Shape;8941;p10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42" name="Google Shape;8942;p10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43" name="Google Shape;8943;p10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44" name="Google Shape;8944;p10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89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46" name="Google Shape;8946;p108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947" name="Google Shape;8947;p108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48" name="Google Shape;8948;p108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949" name="Google Shape;8949;p108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50" name="Google Shape;8950;p108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51" name="Google Shape;8951;p108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952" name="Google Shape;8952;p10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953" name="Google Shape;8953;p108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8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5" name="Google Shape;8955;p10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56" name="Google Shape;8956;p10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57" name="Google Shape;8957;p10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958" name="Google Shape;8958;p10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59" name="Google Shape;8959;p10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60" name="Google Shape;8960;p10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61" name="Google Shape;8961;p10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62" name="Google Shape;8962;p10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 3">
    <p:spTree>
      <p:nvGrpSpPr>
        <p:cNvPr id="1" name="Shape 89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4" name="Google Shape;8964;p108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65" name="Google Shape;8965;p108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66" name="Google Shape;8966;p108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67" name="Google Shape;8967;p10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68" name="Google Shape;8968;p10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69" name="Google Shape;8969;p10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970" name="Google Shape;8970;p10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71" name="Google Shape;8971;p10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72" name="Google Shape;8972;p10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73" name="Google Shape;8973;p10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74" name="Google Shape;8974;p10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975" name="Google Shape;8975;p108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 2">
    <p:spTree>
      <p:nvGrpSpPr>
        <p:cNvPr id="1" name="Shape 89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77" name="Google Shape;8977;p108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78" name="Google Shape;8978;p108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979" name="Google Shape;8979;p10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80" name="Google Shape;8980;p10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81" name="Google Shape;8981;p10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82" name="Google Shape;8982;p10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83" name="Google Shape;8983;p10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84" name="Google Shape;8984;p108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85" name="Google Shape;8985;p108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86" name="Google Shape;8986;p10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87" name="Google Shape;8987;p10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 2">
    <p:spTree>
      <p:nvGrpSpPr>
        <p:cNvPr id="1" name="Shape 89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89" name="Google Shape;8989;p10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90" name="Google Shape;8990;p10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91" name="Google Shape;8991;p10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92" name="Google Shape;8992;p10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93" name="Google Shape;8993;p10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94" name="Google Shape;8994;p108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95" name="Google Shape;8995;p108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996" name="Google Shape;8996;p108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97" name="Google Shape;8997;p108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998" name="Google Shape;8998;p108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99" name="Google Shape;8999;p10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00" name="Google Shape;9000;p10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01" name="Google Shape;9001;p10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 2">
    <p:spTree>
      <p:nvGrpSpPr>
        <p:cNvPr id="1" name="Shape 9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03" name="Google Shape;9003;p10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04" name="Google Shape;9004;p10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05" name="Google Shape;9005;p10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06" name="Google Shape;9006;p10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07" name="Google Shape;9007;p10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08" name="Google Shape;9008;p108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09" name="Google Shape;9009;p10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10" name="Google Shape;9010;p10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11" name="Google Shape;9011;p10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 2">
    <p:spTree>
      <p:nvGrpSpPr>
        <p:cNvPr id="1" name="Shape 90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13" name="Google Shape;9013;p108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014" name="Google Shape;9014;p108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15" name="Google Shape;9015;p108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016" name="Google Shape;9016;p108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17" name="Google Shape;9017;p108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18" name="Google Shape;9018;p108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019" name="Google Shape;9019;p10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020" name="Google Shape;9020;p108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9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0" name="Google Shape;930;p14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31" name="Google Shape;931;p14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2" name="Google Shape;932;p14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33" name="Google Shape;933;p14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4" name="Google Shape;934;p14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5" name="Google Shape;935;p14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36" name="Google Shape;936;p1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37" name="Google Shape;937;p14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 2">
    <p:spTree>
      <p:nvGrpSpPr>
        <p:cNvPr id="1" name="Shape 9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22" name="Google Shape;9022;p10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23" name="Google Shape;9023;p10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24" name="Google Shape;9024;p10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025" name="Google Shape;9025;p10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26" name="Google Shape;9026;p10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27" name="Google Shape;9027;p10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28" name="Google Shape;9028;p10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29" name="Google Shape;9029;p10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 3">
    <p:spTree>
      <p:nvGrpSpPr>
        <p:cNvPr id="1" name="Shape 90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31" name="Google Shape;9031;p10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32" name="Google Shape;9032;p10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33" name="Google Shape;9033;p10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34" name="Google Shape;9034;p10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35" name="Google Shape;9035;p10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36" name="Google Shape;9036;p10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037" name="Google Shape;9037;p10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38" name="Google Shape;9038;p10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39" name="Google Shape;9039;p10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40" name="Google Shape;9040;p10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41" name="Google Shape;9041;p10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042" name="Google Shape;9042;p10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 2">
    <p:spTree>
      <p:nvGrpSpPr>
        <p:cNvPr id="1" name="Shape 90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44" name="Google Shape;9044;p109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45" name="Google Shape;9045;p109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46" name="Google Shape;9046;p109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047" name="Google Shape;9047;p109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048" name="Google Shape;9048;p109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049" name="Google Shape;9049;p109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50" name="Google Shape;9050;p109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051" name="Google Shape;9051;p10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 2">
    <p:bg>
      <p:bgPr>
        <a:solidFill>
          <a:schemeClr val="lt2"/>
        </a:solidFill>
        <a:effectLst/>
      </p:bgPr>
    </p:bg>
    <p:spTree>
      <p:nvGrpSpPr>
        <p:cNvPr id="1" name="Shape 90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53" name="Google Shape;9053;p109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054" name="Google Shape;9054;p109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55" name="Google Shape;9055;p109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56" name="Google Shape;9056;p109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057" name="Google Shape;9057;p10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058" name="Google Shape;9058;p109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59" name="Google Shape;9059;p109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 2">
    <p:spTree>
      <p:nvGrpSpPr>
        <p:cNvPr id="1" name="Shape 90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61" name="Google Shape;9061;p109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062" name="Google Shape;9062;p109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063" name="Google Shape;9063;p109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64" name="Google Shape;9064;p109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65" name="Google Shape;9065;p109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066" name="Google Shape;9066;p109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067" name="Google Shape;9067;p10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 2">
    <p:spTree>
      <p:nvGrpSpPr>
        <p:cNvPr id="1" name="Shape 90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69" name="Google Shape;9069;p109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70" name="Google Shape;9070;p109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71" name="Google Shape;9071;p109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72" name="Google Shape;9072;p10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73" name="Google Shape;9073;p10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74" name="Google Shape;9074;p10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075" name="Google Shape;9075;p10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76" name="Google Shape;9076;p10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77" name="Google Shape;9077;p10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78" name="Google Shape;9078;p10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79" name="Google Shape;9079;p10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080" name="Google Shape;9080;p109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 2">
    <p:spTree>
      <p:nvGrpSpPr>
        <p:cNvPr id="1" name="Shape 90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82" name="Google Shape;9082;p109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83" name="Google Shape;9083;p109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84" name="Google Shape;9084;p109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85" name="Google Shape;9085;p10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86" name="Google Shape;9086;p10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87" name="Google Shape;9087;p10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088" name="Google Shape;9088;p10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89" name="Google Shape;9089;p10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90" name="Google Shape;9090;p10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91" name="Google Shape;9091;p10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92" name="Google Shape;9092;p10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093" name="Google Shape;9093;p109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5 2">
    <p:spTree>
      <p:nvGrpSpPr>
        <p:cNvPr id="1" name="Shape 9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95" name="Google Shape;9095;p10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96" name="Google Shape;9096;p10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97" name="Google Shape;9097;p10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98" name="Google Shape;9098;p10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99" name="Google Shape;9099;p10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00" name="Google Shape;9100;p10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01" name="Google Shape;9101;p109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02" name="Google Shape;9102;p10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03" name="Google Shape;9103;p10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04" name="Google Shape;9104;p10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 2">
    <p:spTree>
      <p:nvGrpSpPr>
        <p:cNvPr id="1" name="Shape 9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6" name="Google Shape;9106;p10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07" name="Google Shape;9107;p109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108" name="Google Shape;9108;p10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09" name="Google Shape;9109;p10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10" name="Google Shape;9110;p10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11" name="Google Shape;9111;p10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12" name="Google Shape;9112;p10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13" name="Google Shape;9113;p109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14" name="Google Shape;9114;p109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15" name="Google Shape;9115;p10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16" name="Google Shape;9116;p10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 2">
    <p:spTree>
      <p:nvGrpSpPr>
        <p:cNvPr id="1" name="Shape 9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18" name="Google Shape;9118;p10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19" name="Google Shape;9119;p10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20" name="Google Shape;9120;p10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21" name="Google Shape;9121;p10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22" name="Google Shape;9122;p10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23" name="Google Shape;9123;p10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24" name="Google Shape;9124;p109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125" name="Google Shape;9125;p109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26" name="Google Shape;9126;p109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127" name="Google Shape;9127;p109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28" name="Google Shape;9128;p10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29" name="Google Shape;9129;p10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30" name="Google Shape;9130;p10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" name="Google Shape;93;p6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4" name="Google Shape;94;p6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" name="Google Shape;95;p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" name="Google Shape;96;p6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7" name="Google Shape;97;p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8" name="Google Shape;98;p6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6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9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9" name="Google Shape;939;p1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0" name="Google Shape;940;p1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1" name="Google Shape;941;p1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42" name="Google Shape;942;p1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3" name="Google Shape;943;p1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4" name="Google Shape;944;p1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5" name="Google Shape;945;p1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6" name="Google Shape;946;p1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 2">
    <p:spTree>
      <p:nvGrpSpPr>
        <p:cNvPr id="1" name="Shape 9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32" name="Google Shape;9132;p10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33" name="Google Shape;9133;p10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34" name="Google Shape;9134;p10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35" name="Google Shape;9135;p10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36" name="Google Shape;9136;p10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37" name="Google Shape;9137;p10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38" name="Google Shape;9138;p10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39" name="Google Shape;9139;p10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40" name="Google Shape;9140;p10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 2">
    <p:spTree>
      <p:nvGrpSpPr>
        <p:cNvPr id="1" name="Shape 9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42" name="Google Shape;9142;p109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143" name="Google Shape;9143;p109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44" name="Google Shape;9144;p109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145" name="Google Shape;9145;p109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46" name="Google Shape;9146;p109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47" name="Google Shape;9147;p109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148" name="Google Shape;9148;p109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149" name="Google Shape;9149;p109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 2">
    <p:spTree>
      <p:nvGrpSpPr>
        <p:cNvPr id="1" name="Shape 9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51" name="Google Shape;9151;p11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52" name="Google Shape;9152;p11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53" name="Google Shape;9153;p11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154" name="Google Shape;9154;p11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55" name="Google Shape;9155;p11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56" name="Google Shape;9156;p11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57" name="Google Shape;9157;p11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58" name="Google Shape;9158;p11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 4">
    <p:spTree>
      <p:nvGrpSpPr>
        <p:cNvPr id="1" name="Shape 9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60" name="Google Shape;9160;p11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61" name="Google Shape;9161;p11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62" name="Google Shape;9162;p11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63" name="Google Shape;9163;p11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64" name="Google Shape;9164;p11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65" name="Google Shape;9165;p11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166" name="Google Shape;9166;p11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67" name="Google Shape;9167;p11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68" name="Google Shape;9168;p11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69" name="Google Shape;9169;p11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70" name="Google Shape;9170;p11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171" name="Google Shape;9171;p11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 3">
    <p:spTree>
      <p:nvGrpSpPr>
        <p:cNvPr id="1" name="Shape 9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73" name="Google Shape;9173;p11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74" name="Google Shape;9174;p110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175" name="Google Shape;9175;p11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76" name="Google Shape;9176;p11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77" name="Google Shape;9177;p11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78" name="Google Shape;9178;p11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79" name="Google Shape;9179;p11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80" name="Google Shape;9180;p110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81" name="Google Shape;9181;p110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82" name="Google Shape;9182;p11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83" name="Google Shape;9183;p11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 3">
    <p:spTree>
      <p:nvGrpSpPr>
        <p:cNvPr id="1" name="Shape 9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85" name="Google Shape;9185;p11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86" name="Google Shape;9186;p11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87" name="Google Shape;9187;p11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88" name="Google Shape;9188;p1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89" name="Google Shape;9189;p1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90" name="Google Shape;9190;p11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91" name="Google Shape;9191;p110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192" name="Google Shape;9192;p110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93" name="Google Shape;9193;p110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194" name="Google Shape;9194;p110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95" name="Google Shape;9195;p11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96" name="Google Shape;9196;p1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97" name="Google Shape;9197;p1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 3">
    <p:spTree>
      <p:nvGrpSpPr>
        <p:cNvPr id="1" name="Shape 9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99" name="Google Shape;9199;p11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00" name="Google Shape;9200;p11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01" name="Google Shape;9201;p11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02" name="Google Shape;9202;p11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03" name="Google Shape;9203;p11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204" name="Google Shape;9204;p11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05" name="Google Shape;9205;p11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06" name="Google Shape;9206;p11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07" name="Google Shape;9207;p11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 3">
    <p:spTree>
      <p:nvGrpSpPr>
        <p:cNvPr id="1" name="Shape 9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09" name="Google Shape;9209;p110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210" name="Google Shape;9210;p110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11" name="Google Shape;9211;p110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12" name="Google Shape;9212;p110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13" name="Google Shape;9213;p110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14" name="Google Shape;9214;p110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215" name="Google Shape;9215;p11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216" name="Google Shape;9216;p110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 3">
    <p:spTree>
      <p:nvGrpSpPr>
        <p:cNvPr id="1" name="Shape 9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Google Shape;9218;p11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19" name="Google Shape;9219;p11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20" name="Google Shape;9220;p11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221" name="Google Shape;9221;p11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22" name="Google Shape;9222;p11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23" name="Google Shape;9223;p11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24" name="Google Shape;9224;p11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25" name="Google Shape;9225;p11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 4">
    <p:spTree>
      <p:nvGrpSpPr>
        <p:cNvPr id="1" name="Shape 9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7" name="Google Shape;9227;p11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28" name="Google Shape;9228;p11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29" name="Google Shape;9229;p11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30" name="Google Shape;9230;p11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31" name="Google Shape;9231;p1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32" name="Google Shape;9232;p11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233" name="Google Shape;9233;p11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34" name="Google Shape;9234;p11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35" name="Google Shape;9235;p11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36" name="Google Shape;9236;p1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37" name="Google Shape;9237;p1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38" name="Google Shape;9238;p110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9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8" name="Google Shape;948;p1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9" name="Google Shape;949;p1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0" name="Google Shape;950;p1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1" name="Google Shape;951;p1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2" name="Google Shape;952;p1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53" name="Google Shape;953;p1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4" name="Google Shape;954;p1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5" name="Google Shape;955;p1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6" name="Google Shape;956;p1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 3">
    <p:spTree>
      <p:nvGrpSpPr>
        <p:cNvPr id="1" name="Shape 9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40" name="Google Shape;9240;p110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41" name="Google Shape;9241;p110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42" name="Google Shape;9242;p110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243" name="Google Shape;9243;p110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244" name="Google Shape;9244;p110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245" name="Google Shape;9245;p110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46" name="Google Shape;9246;p110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247" name="Google Shape;9247;p11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 3">
    <p:bg>
      <p:bgPr>
        <a:solidFill>
          <a:schemeClr val="lt2"/>
        </a:solidFill>
        <a:effectLst/>
      </p:bgPr>
    </p:bg>
    <p:spTree>
      <p:nvGrpSpPr>
        <p:cNvPr id="1" name="Shape 9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49" name="Google Shape;9249;p110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250" name="Google Shape;9250;p110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51" name="Google Shape;9251;p11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52" name="Google Shape;9252;p110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253" name="Google Shape;9253;p11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54" name="Google Shape;9254;p110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55" name="Google Shape;9255;p110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 3">
    <p:spTree>
      <p:nvGrpSpPr>
        <p:cNvPr id="1" name="Shape 9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57" name="Google Shape;9257;p111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258" name="Google Shape;9258;p111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259" name="Google Shape;9259;p111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260" name="Google Shape;9260;p111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61" name="Google Shape;9261;p111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62" name="Google Shape;9262;p111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263" name="Google Shape;9263;p11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 3">
    <p:spTree>
      <p:nvGrpSpPr>
        <p:cNvPr id="1" name="Shape 9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65" name="Google Shape;9265;p11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66" name="Google Shape;9266;p11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67" name="Google Shape;9267;p11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68" name="Google Shape;9268;p11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69" name="Google Shape;9269;p1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70" name="Google Shape;9270;p1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271" name="Google Shape;9271;p11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72" name="Google Shape;9272;p11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73" name="Google Shape;9273;p11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74" name="Google Shape;9274;p1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75" name="Google Shape;9275;p1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76" name="Google Shape;9276;p111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 3">
    <p:spTree>
      <p:nvGrpSpPr>
        <p:cNvPr id="1" name="Shape 9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8" name="Google Shape;9278;p11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79" name="Google Shape;9279;p11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80" name="Google Shape;9280;p11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81" name="Google Shape;9281;p11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82" name="Google Shape;9282;p11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83" name="Google Shape;9283;p11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284" name="Google Shape;9284;p11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85" name="Google Shape;9285;p11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86" name="Google Shape;9286;p11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87" name="Google Shape;9287;p11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88" name="Google Shape;9288;p11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89" name="Google Shape;9289;p11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5 3">
    <p:spTree>
      <p:nvGrpSpPr>
        <p:cNvPr id="1" name="Shape 9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91" name="Google Shape;9291;p11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92" name="Google Shape;9292;p11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93" name="Google Shape;9293;p11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94" name="Google Shape;9294;p1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95" name="Google Shape;9295;p1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296" name="Google Shape;9296;p11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97" name="Google Shape;9297;p11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98" name="Google Shape;9298;p11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99" name="Google Shape;9299;p1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00" name="Google Shape;9300;p1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 3">
    <p:spTree>
      <p:nvGrpSpPr>
        <p:cNvPr id="1" name="Shape 9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02" name="Google Shape;9302;p11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03" name="Google Shape;9303;p111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304" name="Google Shape;9304;p11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05" name="Google Shape;9305;p11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06" name="Google Shape;9306;p11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07" name="Google Shape;9307;p1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08" name="Google Shape;9308;p1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09" name="Google Shape;9309;p111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10" name="Google Shape;9310;p111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11" name="Google Shape;9311;p1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12" name="Google Shape;9312;p1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 3">
    <p:spTree>
      <p:nvGrpSpPr>
        <p:cNvPr id="1" name="Shape 9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14" name="Google Shape;9314;p11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15" name="Google Shape;9315;p11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16" name="Google Shape;9316;p11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17" name="Google Shape;9317;p11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18" name="Google Shape;9318;p11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19" name="Google Shape;9319;p11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20" name="Google Shape;9320;p111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321" name="Google Shape;9321;p111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22" name="Google Shape;9322;p111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323" name="Google Shape;9323;p111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24" name="Google Shape;9324;p11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25" name="Google Shape;9325;p11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26" name="Google Shape;9326;p11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 3">
    <p:spTree>
      <p:nvGrpSpPr>
        <p:cNvPr id="1" name="Shape 9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28" name="Google Shape;9328;p11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29" name="Google Shape;9329;p11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30" name="Google Shape;9330;p11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31" name="Google Shape;9331;p11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32" name="Google Shape;9332;p11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33" name="Google Shape;9333;p11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34" name="Google Shape;9334;p11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35" name="Google Shape;9335;p11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36" name="Google Shape;9336;p11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 3">
    <p:spTree>
      <p:nvGrpSpPr>
        <p:cNvPr id="1" name="Shape 9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38" name="Google Shape;9338;p111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339" name="Google Shape;9339;p111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40" name="Google Shape;9340;p111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341" name="Google Shape;9341;p111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42" name="Google Shape;9342;p111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43" name="Google Shape;9343;p111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344" name="Google Shape;9344;p11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345" name="Google Shape;9345;p11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9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8" name="Google Shape;958;p14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9" name="Google Shape;959;p14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0" name="Google Shape;960;p14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61" name="Google Shape;961;p14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62" name="Google Shape;962;p14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63" name="Google Shape;963;p14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4" name="Google Shape;964;p14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65" name="Google Shape;965;p1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 3">
    <p:spTree>
      <p:nvGrpSpPr>
        <p:cNvPr id="1" name="Shape 9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47" name="Google Shape;9347;p11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48" name="Google Shape;9348;p11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49" name="Google Shape;9349;p11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350" name="Google Shape;9350;p11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51" name="Google Shape;9351;p11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52" name="Google Shape;9352;p11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53" name="Google Shape;9353;p11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54" name="Google Shape;9354;p11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 2">
    <p:bg>
      <p:bgPr>
        <a:solidFill>
          <a:schemeClr val="lt1"/>
        </a:solidFill>
        <a:effectLst/>
      </p:bgPr>
    </p:bg>
    <p:spTree>
      <p:nvGrpSpPr>
        <p:cNvPr id="1" name="Shape 9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56" name="Google Shape;9356;p1119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57" name="Google Shape;9357;p1119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358" name="Google Shape;9358;p11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9359" name="Google Shape;9359;p11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360" name="Google Shape;9360;p111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9361" name="Google Shape;9361;p1119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62" name="Google Shape;9362;p1119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63" name="Google Shape;9363;p1119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64" name="Google Shape;9364;p11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9365" name="Google Shape;9365;p111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366" name="Google Shape;9366;p11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 2">
    <p:spTree>
      <p:nvGrpSpPr>
        <p:cNvPr id="1" name="Shape 9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68" name="Google Shape;9368;p112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69" name="Google Shape;9369;p112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70" name="Google Shape;9370;p11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71" name="Google Shape;9371;p11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72" name="Google Shape;9372;p11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73" name="Google Shape;9373;p11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374" name="Google Shape;9374;p11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75" name="Google Shape;9375;p11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76" name="Google Shape;9376;p11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77" name="Google Shape;9377;p11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78" name="Google Shape;9378;p11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79" name="Google Shape;9379;p112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 3">
    <p:spTree>
      <p:nvGrpSpPr>
        <p:cNvPr id="1" name="Shape 9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81" name="Google Shape;9381;p112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82" name="Google Shape;9382;p112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83" name="Google Shape;9383;p112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84" name="Google Shape;9384;p11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85" name="Google Shape;9385;p11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86" name="Google Shape;9386;p11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387" name="Google Shape;9387;p11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88" name="Google Shape;9388;p11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89" name="Google Shape;9389;p11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90" name="Google Shape;9390;p11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91" name="Google Shape;9391;p11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92" name="Google Shape;9392;p112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 3">
    <p:bg>
      <p:bgPr>
        <a:solidFill>
          <a:schemeClr val="lt1"/>
        </a:solidFill>
        <a:effectLst/>
      </p:bgPr>
    </p:bg>
    <p:spTree>
      <p:nvGrpSpPr>
        <p:cNvPr id="1" name="Shape 9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94" name="Google Shape;9394;p112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95" name="Google Shape;9395;p1122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396" name="Google Shape;9396;p11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9397" name="Google Shape;9397;p1122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398" name="Google Shape;9398;p112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9399" name="Google Shape;9399;p1122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00" name="Google Shape;9400;p1122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01" name="Google Shape;9401;p1122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02" name="Google Shape;9402;p11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9403" name="Google Shape;9403;p112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404" name="Google Shape;9404;p11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 4">
    <p:spTree>
      <p:nvGrpSpPr>
        <p:cNvPr id="1" name="Shape 9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06" name="Google Shape;9406;p112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07" name="Google Shape;9407;p112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08" name="Google Shape;9408;p112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09" name="Google Shape;9409;p11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10" name="Google Shape;9410;p11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11" name="Google Shape;9411;p11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412" name="Google Shape;9412;p11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13" name="Google Shape;9413;p11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14" name="Google Shape;9414;p11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15" name="Google Shape;9415;p11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16" name="Google Shape;9416;p11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17" name="Google Shape;9417;p112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 5">
    <p:spTree>
      <p:nvGrpSpPr>
        <p:cNvPr id="1" name="Shape 9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19" name="Google Shape;9419;p112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20" name="Google Shape;9420;p112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21" name="Google Shape;9421;p112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22" name="Google Shape;9422;p11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23" name="Google Shape;9423;p11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24" name="Google Shape;9424;p11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425" name="Google Shape;9425;p11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26" name="Google Shape;9426;p11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27" name="Google Shape;9427;p11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28" name="Google Shape;9428;p11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29" name="Google Shape;9429;p11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30" name="Google Shape;9430;p112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 6">
    <p:spTree>
      <p:nvGrpSpPr>
        <p:cNvPr id="1" name="Shape 9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32" name="Google Shape;9432;p112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33" name="Google Shape;9433;p112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34" name="Google Shape;9434;p112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35" name="Google Shape;9435;p11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36" name="Google Shape;9436;p11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37" name="Google Shape;9437;p11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438" name="Google Shape;9438;p11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39" name="Google Shape;9439;p11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40" name="Google Shape;9440;p11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41" name="Google Shape;9441;p11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42" name="Google Shape;9442;p11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43" name="Google Shape;9443;p112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9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50" name="Google Shape;9450;p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51" name="Google Shape;9451;p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52" name="Google Shape;9452;p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53" name="Google Shape;9453;p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54" name="Google Shape;9454;p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455" name="Google Shape;9455;p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56" name="Google Shape;9456;p6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57" name="Google Shape;9457;p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58" name="Google Shape;9458;p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59" name="Google Shape;9459;p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9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1" name="Google Shape;9461;p32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62" name="Google Shape;9462;p32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63" name="Google Shape;9463;p32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464" name="Google Shape;9464;p32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465" name="Google Shape;9465;p32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466" name="Google Shape;9466;p32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67" name="Google Shape;9467;p32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468" name="Google Shape;9468;p3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9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7" name="Google Shape;967;p14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68" name="Google Shape;968;p14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9" name="Google Shape;969;p14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0" name="Google Shape;970;p14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71" name="Google Shape;971;p1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72" name="Google Shape;972;p14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3" name="Google Shape;973;p14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94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70" name="Google Shape;9470;p32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471" name="Google Shape;9471;p32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72" name="Google Shape;9472;p3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73" name="Google Shape;9473;p32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474" name="Google Shape;9474;p3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475" name="Google Shape;9475;p32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6" name="Google Shape;9476;p32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9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8" name="Google Shape;9478;p33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479" name="Google Shape;9479;p33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480" name="Google Shape;9480;p33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481" name="Google Shape;9481;p33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482" name="Google Shape;9482;p33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483" name="Google Shape;9483;p33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484" name="Google Shape;9484;p3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94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86" name="Google Shape;9486;p33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87" name="Google Shape;9487;p3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88" name="Google Shape;9488;p3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89" name="Google Shape;9489;p3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90" name="Google Shape;9490;p3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91" name="Google Shape;9491;p3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492" name="Google Shape;9492;p3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93" name="Google Shape;9493;p3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94" name="Google Shape;9494;p3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95" name="Google Shape;9495;p3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96" name="Google Shape;9496;p3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97" name="Google Shape;9497;p33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94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9" name="Google Shape;9499;p33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00" name="Google Shape;9500;p33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501" name="Google Shape;9501;p3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02" name="Google Shape;9502;p3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03" name="Google Shape;9503;p3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04" name="Google Shape;9504;p3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05" name="Google Shape;9505;p3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506" name="Google Shape;9506;p33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07" name="Google Shape;9507;p33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08" name="Google Shape;9508;p3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09" name="Google Shape;9509;p3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95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11" name="Google Shape;9511;p3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12" name="Google Shape;9512;p3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13" name="Google Shape;9513;p3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14" name="Google Shape;9514;p3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15" name="Google Shape;9515;p3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516" name="Google Shape;9516;p33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17" name="Google Shape;9517;p33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518" name="Google Shape;9518;p33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19" name="Google Shape;9519;p33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520" name="Google Shape;9520;p33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21" name="Google Shape;9521;p3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22" name="Google Shape;9522;p3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23" name="Google Shape;9523;p3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9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25" name="Google Shape;9525;p3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26" name="Google Shape;9526;p3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27" name="Google Shape;9527;p3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28" name="Google Shape;9528;p3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29" name="Google Shape;9529;p3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530" name="Google Shape;9530;p3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31" name="Google Shape;9531;p3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32" name="Google Shape;9532;p3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33" name="Google Shape;9533;p3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95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35" name="Google Shape;9535;p33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536" name="Google Shape;9536;p33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37" name="Google Shape;9537;p33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538" name="Google Shape;9538;p33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39" name="Google Shape;9539;p33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40" name="Google Shape;9540;p33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541" name="Google Shape;9541;p3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542" name="Google Shape;9542;p33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5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44" name="Google Shape;9544;p3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45" name="Google Shape;9545;p3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46" name="Google Shape;9546;p3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47" name="Google Shape;9547;p3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48" name="Google Shape;9548;p3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49" name="Google Shape;9549;p3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50" name="Google Shape;9550;p3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51" name="Google Shape;9551;p3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ation">
  <p:cSld name="1_Quotation">
    <p:spTree>
      <p:nvGrpSpPr>
        <p:cNvPr id="1" name="Shape 9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53" name="Google Shape;9553;p33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54" name="Google Shape;9554;p33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55" name="Google Shape;9555;p33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56" name="Google Shape;9556;p3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57" name="Google Shape;9557;p3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58" name="Google Shape;9558;p3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59" name="Google Shape;9559;p3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60" name="Google Shape;9560;p3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61" name="Google Shape;9561;p3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62" name="Google Shape;9562;p3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63" name="Google Shape;9563;p3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64" name="Google Shape;9564;p33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ver">
  <p:cSld name="1_Cover">
    <p:spTree>
      <p:nvGrpSpPr>
        <p:cNvPr id="1" name="Shape 9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66" name="Google Shape;9566;p33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67" name="Google Shape;9567;p33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68" name="Google Shape;9568;p33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569" name="Google Shape;9569;p33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570" name="Google Shape;9570;p33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571" name="Google Shape;9571;p33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72" name="Google Shape;9572;p33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573" name="Google Shape;9573;p3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5" name="Google Shape;975;p14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76" name="Google Shape;976;p14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77" name="Google Shape;977;p14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78" name="Google Shape;978;p14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9" name="Google Shape;979;p14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80" name="Google Shape;980;p14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81" name="Google Shape;981;p1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Divider">
  <p:cSld name="3_Divider">
    <p:bg>
      <p:bgPr>
        <a:solidFill>
          <a:schemeClr val="lt2"/>
        </a:solidFill>
        <a:effectLst/>
      </p:bgPr>
    </p:bg>
    <p:spTree>
      <p:nvGrpSpPr>
        <p:cNvPr id="1" name="Shape 95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75" name="Google Shape;9575;p33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576" name="Google Shape;9576;p33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77" name="Google Shape;9577;p33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78" name="Google Shape;9578;p33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579" name="Google Shape;9579;p3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580" name="Google Shape;9580;p33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81" name="Google Shape;9581;p33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Photo Slide">
  <p:cSld name="2_Photo Slide">
    <p:spTree>
      <p:nvGrpSpPr>
        <p:cNvPr id="1" name="Shape 9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83" name="Google Shape;9583;p34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584" name="Google Shape;9584;p34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585" name="Google Shape;9585;p34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586" name="Google Shape;9586;p34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87" name="Google Shape;9587;p34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588" name="Google Shape;9588;p34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589" name="Google Shape;9589;p3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9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91" name="Google Shape;9591;p34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92" name="Google Shape;9592;p34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93" name="Google Shape;9593;p3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94" name="Google Shape;9594;p3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95" name="Google Shape;9595;p3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96" name="Google Shape;9596;p3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97" name="Google Shape;9597;p3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98" name="Google Shape;9598;p3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99" name="Google Shape;9599;p3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00" name="Google Shape;9600;p3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01" name="Google Shape;9601;p3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602" name="Google Shape;9602;p34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9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04" name="Google Shape;9604;p34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05" name="Google Shape;9605;p34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06" name="Google Shape;9606;p34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07" name="Google Shape;9607;p3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08" name="Google Shape;9608;p3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09" name="Google Shape;9609;p3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610" name="Google Shape;9610;p3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11" name="Google Shape;9611;p3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12" name="Google Shape;9612;p3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13" name="Google Shape;9613;p3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14" name="Google Shape;9614;p3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615" name="Google Shape;9615;p34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Content">
  <p:cSld name="4_Title and Content">
    <p:spTree>
      <p:nvGrpSpPr>
        <p:cNvPr id="1" name="Shape 96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17" name="Google Shape;9617;p3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18" name="Google Shape;9618;p3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19" name="Google Shape;9619;p3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20" name="Google Shape;9620;p3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21" name="Google Shape;9621;p3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622" name="Google Shape;9622;p34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23" name="Google Shape;9623;p34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24" name="Google Shape;9624;p3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25" name="Google Shape;9625;p3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26" name="Google Shape;9626;p3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wo Content">
  <p:cSld name="2_Two Content">
    <p:spTree>
      <p:nvGrpSpPr>
        <p:cNvPr id="1" name="Shape 96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8" name="Google Shape;9628;p3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29" name="Google Shape;9629;p3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630" name="Google Shape;9630;p3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31" name="Google Shape;9631;p3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32" name="Google Shape;9632;p3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33" name="Google Shape;9633;p3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34" name="Google Shape;9634;p3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635" name="Google Shape;9635;p34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36" name="Google Shape;9636;p34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37" name="Google Shape;9637;p3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38" name="Google Shape;9638;p3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mparison">
  <p:cSld name="1_Comparison">
    <p:spTree>
      <p:nvGrpSpPr>
        <p:cNvPr id="1" name="Shape 9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40" name="Google Shape;9640;p3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41" name="Google Shape;9641;p3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42" name="Google Shape;9642;p3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43" name="Google Shape;9643;p3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44" name="Google Shape;9644;p3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645" name="Google Shape;9645;p3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46" name="Google Shape;9646;p34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647" name="Google Shape;9647;p34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48" name="Google Shape;9648;p34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649" name="Google Shape;9649;p34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50" name="Google Shape;9650;p3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51" name="Google Shape;9651;p3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52" name="Google Shape;9652;p3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Only">
  <p:cSld name="2_Title Only">
    <p:spTree>
      <p:nvGrpSpPr>
        <p:cNvPr id="1" name="Shape 9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54" name="Google Shape;9654;p3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55" name="Google Shape;9655;p3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56" name="Google Shape;9656;p3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57" name="Google Shape;9657;p3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58" name="Google Shape;9658;p3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659" name="Google Shape;9659;p3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60" name="Google Shape;9660;p3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61" name="Google Shape;9661;p3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62" name="Google Shape;9662;p3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End">
  <p:cSld name="1_End">
    <p:spTree>
      <p:nvGrpSpPr>
        <p:cNvPr id="1" name="Shape 96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64" name="Google Shape;9664;p34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665" name="Google Shape;9665;p34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66" name="Google Shape;9666;p34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667" name="Google Shape;9667;p34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68" name="Google Shape;9668;p34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69" name="Google Shape;9669;p34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670" name="Google Shape;9670;p3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671" name="Google Shape;9671;p34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>
  <p:cSld name="1_Blank">
    <p:spTree>
      <p:nvGrpSpPr>
        <p:cNvPr id="1" name="Shape 96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73" name="Google Shape;9673;p3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74" name="Google Shape;9674;p3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75" name="Google Shape;9675;p3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676" name="Google Shape;9676;p3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77" name="Google Shape;9677;p3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78" name="Google Shape;9678;p3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79" name="Google Shape;9679;p3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80" name="Google Shape;9680;p3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" name="Google Shape;983;p15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4" name="Google Shape;984;p15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5" name="Google Shape;985;p15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6" name="Google Shape;986;p1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7" name="Google Shape;987;p1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8" name="Google Shape;988;p1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89" name="Google Shape;989;p1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0" name="Google Shape;990;p1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1" name="Google Shape;991;p1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2" name="Google Shape;992;p1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3" name="Google Shape;993;p1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94" name="Google Shape;994;p15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over">
  <p:cSld name="2_Cover">
    <p:spTree>
      <p:nvGrpSpPr>
        <p:cNvPr id="1" name="Shape 96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82" name="Google Shape;9682;p34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83" name="Google Shape;9683;p34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84" name="Google Shape;9684;p34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685" name="Google Shape;9685;p34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686" name="Google Shape;9686;p34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687" name="Google Shape;9687;p34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88" name="Google Shape;9688;p34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689" name="Google Shape;9689;p3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Divider">
  <p:cSld name="4_Divider">
    <p:bg>
      <p:bgPr>
        <a:solidFill>
          <a:schemeClr val="lt2"/>
        </a:solidFill>
        <a:effectLst/>
      </p:bgPr>
    </p:bg>
    <p:spTree>
      <p:nvGrpSpPr>
        <p:cNvPr id="1" name="Shape 96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91" name="Google Shape;9691;p35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692" name="Google Shape;9692;p35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93" name="Google Shape;9693;p35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94" name="Google Shape;9694;p35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695" name="Google Shape;9695;p3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696" name="Google Shape;9696;p35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97" name="Google Shape;9697;p35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96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99" name="Google Shape;9699;p35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00" name="Google Shape;9700;p35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01" name="Google Shape;9701;p35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02" name="Google Shape;9702;p3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03" name="Google Shape;9703;p3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04" name="Google Shape;9704;p3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05" name="Google Shape;9705;p3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06" name="Google Shape;9706;p3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07" name="Google Shape;9707;p3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08" name="Google Shape;9708;p3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09" name="Google Shape;9709;p3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710" name="Google Shape;9710;p35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and Content">
  <p:cSld name="5_Title and Content">
    <p:spTree>
      <p:nvGrpSpPr>
        <p:cNvPr id="1" name="Shape 9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12" name="Google Shape;9712;p3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13" name="Google Shape;9713;p3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14" name="Google Shape;9714;p3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15" name="Google Shape;9715;p3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16" name="Google Shape;9716;p3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717" name="Google Shape;9717;p3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18" name="Google Shape;9718;p35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19" name="Google Shape;9719;p3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20" name="Google Shape;9720;p3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21" name="Google Shape;9721;p3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wo Content">
  <p:cSld name="3_Two Content">
    <p:spTree>
      <p:nvGrpSpPr>
        <p:cNvPr id="1" name="Shape 9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3" name="Google Shape;9723;p3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24" name="Google Shape;9724;p35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725" name="Google Shape;9725;p3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26" name="Google Shape;9726;p3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27" name="Google Shape;9727;p3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28" name="Google Shape;9728;p3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29" name="Google Shape;9729;p3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730" name="Google Shape;9730;p35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31" name="Google Shape;9731;p35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32" name="Google Shape;9732;p3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33" name="Google Shape;9733;p3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omparison">
  <p:cSld name="2_Comparison">
    <p:spTree>
      <p:nvGrpSpPr>
        <p:cNvPr id="1" name="Shape 97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35" name="Google Shape;9735;p3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36" name="Google Shape;9736;p3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37" name="Google Shape;9737;p3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38" name="Google Shape;9738;p3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39" name="Google Shape;9739;p3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740" name="Google Shape;9740;p3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41" name="Google Shape;9741;p35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742" name="Google Shape;9742;p35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43" name="Google Shape;9743;p35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744" name="Google Shape;9744;p35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45" name="Google Shape;9745;p3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46" name="Google Shape;9746;p3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47" name="Google Shape;9747;p3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Photo Slide">
  <p:cSld name="3_Photo Slide">
    <p:spTree>
      <p:nvGrpSpPr>
        <p:cNvPr id="1" name="Shape 97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49" name="Google Shape;9749;p35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750" name="Google Shape;9750;p35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751" name="Google Shape;9751;p35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752" name="Google Shape;9752;p35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53" name="Google Shape;9753;p35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754" name="Google Shape;9754;p35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755" name="Google Shape;9755;p3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End">
  <p:cSld name="2_End">
    <p:spTree>
      <p:nvGrpSpPr>
        <p:cNvPr id="1" name="Shape 97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57" name="Google Shape;9757;p35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758" name="Google Shape;9758;p35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59" name="Google Shape;9759;p35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760" name="Google Shape;9760;p35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61" name="Google Shape;9761;p35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62" name="Google Shape;9762;p35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763" name="Google Shape;9763;p3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764" name="Google Shape;9764;p35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97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66" name="Google Shape;9766;p3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67" name="Google Shape;9767;p3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68" name="Google Shape;9768;p3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69" name="Google Shape;9769;p3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70" name="Google Shape;9770;p3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71" name="Google Shape;9771;p3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72" name="Google Shape;9772;p3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73" name="Google Shape;9773;p3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Only">
  <p:cSld name="3_Title Only">
    <p:spTree>
      <p:nvGrpSpPr>
        <p:cNvPr id="1" name="Shape 9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75" name="Google Shape;9775;p3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76" name="Google Shape;9776;p3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77" name="Google Shape;9777;p3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78" name="Google Shape;9778;p3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79" name="Google Shape;9779;p3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780" name="Google Shape;9780;p3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81" name="Google Shape;9781;p3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82" name="Google Shape;9782;p3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83" name="Google Shape;9783;p3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9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6" name="Google Shape;996;p15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7" name="Google Shape;997;p15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8" name="Google Shape;998;p15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9" name="Google Shape;999;p1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0" name="Google Shape;1000;p1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1" name="Google Shape;1001;p1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2" name="Google Shape;1002;p1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3" name="Google Shape;1003;p1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4" name="Google Shape;1004;p1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5" name="Google Shape;1005;p1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6" name="Google Shape;1006;p1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07" name="Google Shape;1007;p15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ver">
  <p:cSld name="3_Cover">
    <p:spTree>
      <p:nvGrpSpPr>
        <p:cNvPr id="1" name="Shape 97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85" name="Google Shape;9785;p35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86" name="Google Shape;9786;p35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87" name="Google Shape;9787;p35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788" name="Google Shape;9788;p35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789" name="Google Shape;9789;p35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790" name="Google Shape;9790;p35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91" name="Google Shape;9791;p35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792" name="Google Shape;9792;p3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Divider">
  <p:cSld name="5_Divider">
    <p:bg>
      <p:bgPr>
        <a:solidFill>
          <a:schemeClr val="lt2"/>
        </a:solidFill>
        <a:effectLst/>
      </p:bgPr>
    </p:bg>
    <p:spTree>
      <p:nvGrpSpPr>
        <p:cNvPr id="1" name="Shape 97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94" name="Google Shape;9794;p36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795" name="Google Shape;9795;p36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96" name="Google Shape;9796;p3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97" name="Google Shape;9797;p36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798" name="Google Shape;9798;p3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799" name="Google Shape;9799;p36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00" name="Google Shape;9800;p36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Photo Slide">
  <p:cSld name="4_Photo Slide">
    <p:spTree>
      <p:nvGrpSpPr>
        <p:cNvPr id="1" name="Shape 98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2" name="Google Shape;9802;p36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803" name="Google Shape;9803;p36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804" name="Google Shape;9804;p36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805" name="Google Shape;9805;p36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06" name="Google Shape;9806;p36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807" name="Google Shape;9807;p36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808" name="Google Shape;9808;p3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Quotation">
  <p:cSld name="5_Quotation">
    <p:spTree>
      <p:nvGrpSpPr>
        <p:cNvPr id="1" name="Shape 98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10" name="Google Shape;9810;p36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11" name="Google Shape;9811;p36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12" name="Google Shape;9812;p3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13" name="Google Shape;9813;p3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14" name="Google Shape;9814;p3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15" name="Google Shape;9815;p3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816" name="Google Shape;9816;p3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17" name="Google Shape;9817;p3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18" name="Google Shape;9818;p3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19" name="Google Shape;9819;p3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20" name="Google Shape;9820;p3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821" name="Google Shape;9821;p36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Quotation">
  <p:cSld name="6_Quotation">
    <p:spTree>
      <p:nvGrpSpPr>
        <p:cNvPr id="1" name="Shape 9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23" name="Google Shape;9823;p3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24" name="Google Shape;9824;p3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25" name="Google Shape;9825;p3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26" name="Google Shape;9826;p3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27" name="Google Shape;9827;p3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28" name="Google Shape;9828;p3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829" name="Google Shape;9829;p3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30" name="Google Shape;9830;p3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31" name="Google Shape;9831;p3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32" name="Google Shape;9832;p3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33" name="Google Shape;9833;p3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834" name="Google Shape;9834;p3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spTree>
      <p:nvGrpSpPr>
        <p:cNvPr id="1" name="Shape 9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36" name="Google Shape;9836;p3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37" name="Google Shape;9837;p3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38" name="Google Shape;9838;p3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39" name="Google Shape;9839;p3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40" name="Google Shape;9840;p3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841" name="Google Shape;9841;p3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42" name="Google Shape;9842;p36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43" name="Google Shape;9843;p3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44" name="Google Shape;9844;p3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45" name="Google Shape;9845;p3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wo Content">
  <p:cSld name="4_Two Content">
    <p:spTree>
      <p:nvGrpSpPr>
        <p:cNvPr id="1" name="Shape 98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47" name="Google Shape;9847;p3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48" name="Google Shape;9848;p36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849" name="Google Shape;9849;p3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50" name="Google Shape;9850;p3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51" name="Google Shape;9851;p3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52" name="Google Shape;9852;p3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53" name="Google Shape;9853;p3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854" name="Google Shape;9854;p36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55" name="Google Shape;9855;p36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56" name="Google Shape;9856;p3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57" name="Google Shape;9857;p3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mparison">
  <p:cSld name="3_Comparison">
    <p:spTree>
      <p:nvGrpSpPr>
        <p:cNvPr id="1" name="Shape 9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59" name="Google Shape;9859;p3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60" name="Google Shape;9860;p3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61" name="Google Shape;9861;p3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62" name="Google Shape;9862;p3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63" name="Google Shape;9863;p3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864" name="Google Shape;9864;p3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65" name="Google Shape;9865;p36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866" name="Google Shape;9866;p36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67" name="Google Shape;9867;p36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868" name="Google Shape;9868;p36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69" name="Google Shape;9869;p3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70" name="Google Shape;9870;p3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71" name="Google Shape;9871;p3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Only">
  <p:cSld name="4_Title Only">
    <p:spTree>
      <p:nvGrpSpPr>
        <p:cNvPr id="1" name="Shape 98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73" name="Google Shape;9873;p3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74" name="Google Shape;9874;p3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75" name="Google Shape;9875;p3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76" name="Google Shape;9876;p3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77" name="Google Shape;9877;p3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878" name="Google Shape;9878;p3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79" name="Google Shape;9879;p3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80" name="Google Shape;9880;p3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81" name="Google Shape;9881;p3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End">
  <p:cSld name="3_End">
    <p:spTree>
      <p:nvGrpSpPr>
        <p:cNvPr id="1" name="Shape 98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83" name="Google Shape;9883;p36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884" name="Google Shape;9884;p36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85" name="Google Shape;9885;p36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886" name="Google Shape;9886;p36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87" name="Google Shape;9887;p36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88" name="Google Shape;9888;p36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889" name="Google Shape;9889;p3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890" name="Google Shape;9890;p36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10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9" name="Google Shape;1009;p1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0" name="Google Shape;1010;p1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1" name="Google Shape;1011;p1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2" name="Google Shape;1012;p1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3" name="Google Shape;1013;p1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14" name="Google Shape;1014;p1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5" name="Google Shape;1015;p15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6" name="Google Shape;1016;p1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7" name="Google Shape;1017;p1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8" name="Google Shape;1018;p1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Blank">
  <p:cSld name="3_Blank">
    <p:spTree>
      <p:nvGrpSpPr>
        <p:cNvPr id="1" name="Shape 98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92" name="Google Shape;9892;p3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93" name="Google Shape;9893;p3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94" name="Google Shape;9894;p3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895" name="Google Shape;9895;p3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96" name="Google Shape;9896;p3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97" name="Google Shape;9897;p3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98" name="Google Shape;9898;p3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99" name="Google Shape;9899;p3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99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01" name="Google Shape;9901;p370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02" name="Google Shape;9902;p370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9903" name="Google Shape;9903;p370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9904" name="Google Shape;9904;p370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05" name="Google Shape;9905;p370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9906" name="Google Shape;9906;p3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Divider">
  <p:cSld name="6_Divider">
    <p:bg>
      <p:bgPr>
        <a:solidFill>
          <a:schemeClr val="lt2"/>
        </a:solidFill>
        <a:effectLst/>
      </p:bgPr>
    </p:bg>
    <p:spTree>
      <p:nvGrpSpPr>
        <p:cNvPr id="1" name="Shape 99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08" name="Google Shape;9908;p37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909" name="Google Shape;9909;p37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10" name="Google Shape;9910;p37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11" name="Google Shape;9911;p37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912" name="Google Shape;9912;p3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913" name="Google Shape;9913;p37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14" name="Google Shape;9914;p37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Photo Slide">
  <p:cSld name="5_Photo Slide">
    <p:spTree>
      <p:nvGrpSpPr>
        <p:cNvPr id="1" name="Shape 99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16" name="Google Shape;9916;p37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917" name="Google Shape;9917;p37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918" name="Google Shape;9918;p37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919" name="Google Shape;9919;p37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20" name="Google Shape;9920;p37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921" name="Google Shape;9921;p37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922" name="Google Shape;9922;p3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ver">
  <p:cSld name="4_Cover">
    <p:spTree>
      <p:nvGrpSpPr>
        <p:cNvPr id="1" name="Shape 99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4" name="Google Shape;9924;p37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25" name="Google Shape;9925;p37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26" name="Google Shape;9926;p37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927" name="Google Shape;9927;p37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928" name="Google Shape;9928;p37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929" name="Google Shape;9929;p37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30" name="Google Shape;9930;p37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931" name="Google Shape;9931;p3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and Content">
  <p:cSld name="7_Title and Content">
    <p:spTree>
      <p:nvGrpSpPr>
        <p:cNvPr id="1" name="Shape 99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33" name="Google Shape;9933;p3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34" name="Google Shape;9934;p3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35" name="Google Shape;9935;p3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36" name="Google Shape;9936;p3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37" name="Google Shape;9937;p3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938" name="Google Shape;9938;p3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39" name="Google Shape;9939;p37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40" name="Google Shape;9940;p3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41" name="Google Shape;9941;p3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42" name="Google Shape;9942;p3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wo Content">
  <p:cSld name="5_Two Content">
    <p:spTree>
      <p:nvGrpSpPr>
        <p:cNvPr id="1" name="Shape 99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4" name="Google Shape;9944;p37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45" name="Google Shape;9945;p37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946" name="Google Shape;9946;p3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47" name="Google Shape;9947;p3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48" name="Google Shape;9948;p3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49" name="Google Shape;9949;p3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50" name="Google Shape;9950;p3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951" name="Google Shape;9951;p37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52" name="Google Shape;9952;p37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53" name="Google Shape;9953;p3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54" name="Google Shape;9954;p3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mparison">
  <p:cSld name="4_Comparison">
    <p:spTree>
      <p:nvGrpSpPr>
        <p:cNvPr id="1" name="Shape 99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56" name="Google Shape;9956;p3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57" name="Google Shape;9957;p3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58" name="Google Shape;9958;p3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59" name="Google Shape;9959;p3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60" name="Google Shape;9960;p3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961" name="Google Shape;9961;p37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62" name="Google Shape;9962;p37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963" name="Google Shape;9963;p37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64" name="Google Shape;9964;p37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965" name="Google Shape;9965;p37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66" name="Google Shape;9966;p3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67" name="Google Shape;9967;p3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68" name="Google Shape;9968;p3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Quotation">
  <p:cSld name="7_Quotation">
    <p:spTree>
      <p:nvGrpSpPr>
        <p:cNvPr id="1" name="Shape 99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70" name="Google Shape;9970;p37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71" name="Google Shape;9971;p37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72" name="Google Shape;9972;p37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73" name="Google Shape;9973;p3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74" name="Google Shape;9974;p3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75" name="Google Shape;9975;p3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976" name="Google Shape;9976;p3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77" name="Google Shape;9977;p3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78" name="Google Shape;9978;p3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79" name="Google Shape;9979;p3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80" name="Google Shape;9980;p3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981" name="Google Shape;9981;p37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End">
  <p:cSld name="4_End">
    <p:spTree>
      <p:nvGrpSpPr>
        <p:cNvPr id="1" name="Shape 9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83" name="Google Shape;9983;p37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984" name="Google Shape;9984;p37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85" name="Google Shape;9985;p37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986" name="Google Shape;9986;p37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87" name="Google Shape;9987;p37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88" name="Google Shape;9988;p37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989" name="Google Shape;9989;p3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990" name="Google Shape;9990;p37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1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0" name="Google Shape;1020;p1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1" name="Google Shape;1021;p15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22" name="Google Shape;1022;p1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3" name="Google Shape;1023;p1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4" name="Google Shape;1024;p1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5" name="Google Shape;1025;p1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6" name="Google Shape;1026;p1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7" name="Google Shape;1027;p15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" name="Google Shape;1028;p15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9" name="Google Shape;1029;p1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0" name="Google Shape;1030;p1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Only">
  <p:cSld name="5_Title Only">
    <p:spTree>
      <p:nvGrpSpPr>
        <p:cNvPr id="1" name="Shape 9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92" name="Google Shape;9992;p3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93" name="Google Shape;9993;p3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94" name="Google Shape;9994;p3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95" name="Google Shape;9995;p3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96" name="Google Shape;9996;p3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997" name="Google Shape;9997;p3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98" name="Google Shape;9998;p3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99" name="Google Shape;9999;p3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00" name="Google Shape;10000;p3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Blank">
  <p:cSld name="4_Blank">
    <p:spTree>
      <p:nvGrpSpPr>
        <p:cNvPr id="1" name="Shape 100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02" name="Google Shape;10002;p3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03" name="Google Shape;10003;p3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04" name="Google Shape;10004;p3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05" name="Google Shape;10005;p3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06" name="Google Shape;10006;p3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07" name="Google Shape;10007;p3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08" name="Google Shape;10008;p3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09" name="Google Shape;10009;p3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Quotation">
  <p:cSld name="9_Quotation">
    <p:spTree>
      <p:nvGrpSpPr>
        <p:cNvPr id="1" name="Shape 10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11" name="Google Shape;10011;p38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12" name="Google Shape;10012;p38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13" name="Google Shape;10013;p38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14" name="Google Shape;10014;p3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15" name="Google Shape;10015;p3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16" name="Google Shape;10016;p3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17" name="Google Shape;10017;p3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18" name="Google Shape;10018;p3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19" name="Google Shape;10019;p3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20" name="Google Shape;10020;p3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21" name="Google Shape;10021;p3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022" name="Google Shape;10022;p38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Quotation">
  <p:cSld name="10_Quotation">
    <p:spTree>
      <p:nvGrpSpPr>
        <p:cNvPr id="1" name="Shape 100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24" name="Google Shape;10024;p38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25" name="Google Shape;10025;p38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26" name="Google Shape;10026;p38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27" name="Google Shape;10027;p3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28" name="Google Shape;10028;p3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29" name="Google Shape;10029;p3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30" name="Google Shape;10030;p3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31" name="Google Shape;10031;p3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32" name="Google Shape;10032;p3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33" name="Google Shape;10033;p3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34" name="Google Shape;10034;p3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035" name="Google Shape;10035;p38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over">
  <p:cSld name="6_Cover">
    <p:spTree>
      <p:nvGrpSpPr>
        <p:cNvPr id="1" name="Shape 100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7" name="Google Shape;10037;p38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38" name="Google Shape;10038;p38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39" name="Google Shape;10039;p38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040" name="Google Shape;10040;p38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041" name="Google Shape;10041;p38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042" name="Google Shape;10042;p38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43" name="Google Shape;10043;p38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044" name="Google Shape;10044;p3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Divider">
  <p:cSld name="8_Divider">
    <p:bg>
      <p:bgPr>
        <a:solidFill>
          <a:schemeClr val="lt2"/>
        </a:solidFill>
        <a:effectLst/>
      </p:bgPr>
    </p:bg>
    <p:spTree>
      <p:nvGrpSpPr>
        <p:cNvPr id="1" name="Shape 100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46" name="Google Shape;10046;p38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047" name="Google Shape;10047;p38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48" name="Google Shape;10048;p38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49" name="Google Shape;10049;p38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050" name="Google Shape;10050;p3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051" name="Google Shape;10051;p38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52" name="Google Shape;10052;p38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Photo Slide">
  <p:cSld name="7_Photo Slide">
    <p:spTree>
      <p:nvGrpSpPr>
        <p:cNvPr id="1" name="Shape 100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54" name="Google Shape;10054;p38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055" name="Google Shape;10055;p38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056" name="Google Shape;10056;p38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057" name="Google Shape;10057;p38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58" name="Google Shape;10058;p38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059" name="Google Shape;10059;p38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060" name="Google Shape;10060;p3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Quotation">
  <p:cSld name="11_Quotation">
    <p:spTree>
      <p:nvGrpSpPr>
        <p:cNvPr id="1" name="Shape 100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2" name="Google Shape;10062;p38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63" name="Google Shape;10063;p38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64" name="Google Shape;10064;p38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65" name="Google Shape;10065;p3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66" name="Google Shape;10066;p3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67" name="Google Shape;10067;p3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68" name="Google Shape;10068;p3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69" name="Google Shape;10069;p3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70" name="Google Shape;10070;p3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71" name="Google Shape;10071;p3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72" name="Google Shape;10072;p3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073" name="Google Shape;10073;p38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Content">
  <p:cSld name="9_Title and Content">
    <p:spTree>
      <p:nvGrpSpPr>
        <p:cNvPr id="1" name="Shape 100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75" name="Google Shape;10075;p3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76" name="Google Shape;10076;p3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77" name="Google Shape;10077;p3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78" name="Google Shape;10078;p3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79" name="Google Shape;10079;p3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080" name="Google Shape;10080;p3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81" name="Google Shape;10081;p38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82" name="Google Shape;10082;p3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83" name="Google Shape;10083;p3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84" name="Google Shape;10084;p3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wo Content">
  <p:cSld name="7_Two Content">
    <p:spTree>
      <p:nvGrpSpPr>
        <p:cNvPr id="1" name="Shape 10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6" name="Google Shape;10086;p38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87" name="Google Shape;10087;p38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088" name="Google Shape;10088;p3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89" name="Google Shape;10089;p3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90" name="Google Shape;10090;p3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91" name="Google Shape;10091;p3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92" name="Google Shape;10092;p3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093" name="Google Shape;10093;p38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94" name="Google Shape;10094;p38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95" name="Google Shape;10095;p3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96" name="Google Shape;10096;p3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10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2" name="Google Shape;1032;p1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3" name="Google Shape;1033;p1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4" name="Google Shape;1034;p1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5" name="Google Shape;1035;p1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6" name="Google Shape;1036;p1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7" name="Google Shape;1037;p1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8" name="Google Shape;1038;p15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39" name="Google Shape;1039;p15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0" name="Google Shape;1040;p15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1" name="Google Shape;1041;p15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2" name="Google Shape;1042;p1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3" name="Google Shape;1043;p1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4" name="Google Shape;1044;p1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omparison">
  <p:cSld name="6_Comparison">
    <p:spTree>
      <p:nvGrpSpPr>
        <p:cNvPr id="1" name="Shape 100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98" name="Google Shape;10098;p3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99" name="Google Shape;10099;p3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00" name="Google Shape;10100;p3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01" name="Google Shape;10101;p3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02" name="Google Shape;10102;p3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103" name="Google Shape;10103;p38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04" name="Google Shape;10104;p38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105" name="Google Shape;10105;p38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06" name="Google Shape;10106;p38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107" name="Google Shape;10107;p38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08" name="Google Shape;10108;p3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09" name="Google Shape;10109;p3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10" name="Google Shape;10110;p3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Only">
  <p:cSld name="7_Title Only">
    <p:spTree>
      <p:nvGrpSpPr>
        <p:cNvPr id="1" name="Shape 10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12" name="Google Shape;10112;p3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13" name="Google Shape;10113;p3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14" name="Google Shape;10114;p3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15" name="Google Shape;10115;p3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16" name="Google Shape;10116;p3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117" name="Google Shape;10117;p3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18" name="Google Shape;10118;p3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19" name="Google Shape;10119;p3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20" name="Google Shape;10120;p3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End">
  <p:cSld name="6_End">
    <p:spTree>
      <p:nvGrpSpPr>
        <p:cNvPr id="1" name="Shape 10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22" name="Google Shape;10122;p39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123" name="Google Shape;10123;p39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24" name="Google Shape;10124;p39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125" name="Google Shape;10125;p39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126" name="Google Shape;10126;p39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27" name="Google Shape;10127;p39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128" name="Google Shape;10128;p3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129" name="Google Shape;10129;p39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Blank">
  <p:cSld name="5_Blank">
    <p:spTree>
      <p:nvGrpSpPr>
        <p:cNvPr id="1" name="Shape 10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1" name="Google Shape;10131;p3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32" name="Google Shape;10132;p3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33" name="Google Shape;10133;p3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34" name="Google Shape;10134;p3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35" name="Google Shape;10135;p3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36" name="Google Shape;10136;p3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37" name="Google Shape;10137;p3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38" name="Google Shape;10138;p3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over">
  <p:cSld name="7_Cover">
    <p:spTree>
      <p:nvGrpSpPr>
        <p:cNvPr id="1" name="Shape 10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40" name="Google Shape;10140;p39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141" name="Google Shape;10141;p39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42" name="Google Shape;10142;p39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143" name="Google Shape;10143;p39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144" name="Google Shape;10144;p39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145" name="Google Shape;10145;p39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46" name="Google Shape;10146;p39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147" name="Google Shape;10147;p3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Divider">
  <p:cSld name="9_Divider">
    <p:bg>
      <p:bgPr>
        <a:solidFill>
          <a:schemeClr val="lt2"/>
        </a:solidFill>
        <a:effectLst/>
      </p:bgPr>
    </p:bg>
    <p:spTree>
      <p:nvGrpSpPr>
        <p:cNvPr id="1" name="Shape 10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49" name="Google Shape;10149;p39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150" name="Google Shape;10150;p39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51" name="Google Shape;10151;p39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52" name="Google Shape;10152;p39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153" name="Google Shape;10153;p3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154" name="Google Shape;10154;p39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55" name="Google Shape;10155;p39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Photo Slide">
  <p:cSld name="8_Photo Slide">
    <p:spTree>
      <p:nvGrpSpPr>
        <p:cNvPr id="1" name="Shape 10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57" name="Google Shape;10157;p39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158" name="Google Shape;10158;p39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159" name="Google Shape;10159;p39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160" name="Google Shape;10160;p39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61" name="Google Shape;10161;p39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162" name="Google Shape;10162;p39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163" name="Google Shape;10163;p3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Quotation">
  <p:cSld name="12_Quotation">
    <p:spTree>
      <p:nvGrpSpPr>
        <p:cNvPr id="1" name="Shape 10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65" name="Google Shape;10165;p39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166" name="Google Shape;10166;p39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67" name="Google Shape;10167;p39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68" name="Google Shape;10168;p3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69" name="Google Shape;10169;p3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70" name="Google Shape;10170;p3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71" name="Google Shape;10171;p3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72" name="Google Shape;10172;p3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73" name="Google Shape;10173;p3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74" name="Google Shape;10174;p3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75" name="Google Shape;10175;p3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176" name="Google Shape;10176;p39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Content">
  <p:cSld name="10_Title and Content">
    <p:spTree>
      <p:nvGrpSpPr>
        <p:cNvPr id="1" name="Shape 10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78" name="Google Shape;10178;p3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79" name="Google Shape;10179;p3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80" name="Google Shape;10180;p3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81" name="Google Shape;10181;p3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82" name="Google Shape;10182;p3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183" name="Google Shape;10183;p3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84" name="Google Shape;10184;p39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85" name="Google Shape;10185;p3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86" name="Google Shape;10186;p3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87" name="Google Shape;10187;p3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wo Content">
  <p:cSld name="8_Two Content">
    <p:spTree>
      <p:nvGrpSpPr>
        <p:cNvPr id="1" name="Shape 10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9" name="Google Shape;10189;p3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90" name="Google Shape;10190;p39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191" name="Google Shape;10191;p3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92" name="Google Shape;10192;p3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93" name="Google Shape;10193;p3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94" name="Google Shape;10194;p3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95" name="Google Shape;10195;p3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196" name="Google Shape;10196;p39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97" name="Google Shape;10197;p39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98" name="Google Shape;10198;p3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99" name="Google Shape;10199;p3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63" Type="http://schemas.openxmlformats.org/officeDocument/2006/relationships/slideLayout" Target="../slideLayouts/slideLayout63.xml"/><Relationship Id="rId159" Type="http://schemas.openxmlformats.org/officeDocument/2006/relationships/slideLayout" Target="../slideLayouts/slideLayout159.xml"/><Relationship Id="rId170" Type="http://schemas.openxmlformats.org/officeDocument/2006/relationships/slideLayout" Target="../slideLayouts/slideLayout170.xml"/><Relationship Id="rId226" Type="http://schemas.openxmlformats.org/officeDocument/2006/relationships/slideLayout" Target="../slideLayouts/slideLayout226.xml"/><Relationship Id="rId268" Type="http://schemas.openxmlformats.org/officeDocument/2006/relationships/slideLayout" Target="../slideLayouts/slideLayout268.xml"/><Relationship Id="rId32" Type="http://schemas.openxmlformats.org/officeDocument/2006/relationships/slideLayout" Target="../slideLayouts/slideLayout32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5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181" Type="http://schemas.openxmlformats.org/officeDocument/2006/relationships/slideLayout" Target="../slideLayouts/slideLayout181.xml"/><Relationship Id="rId216" Type="http://schemas.openxmlformats.org/officeDocument/2006/relationships/slideLayout" Target="../slideLayouts/slideLayout216.xml"/><Relationship Id="rId237" Type="http://schemas.openxmlformats.org/officeDocument/2006/relationships/slideLayout" Target="../slideLayouts/slideLayout237.xml"/><Relationship Id="rId258" Type="http://schemas.openxmlformats.org/officeDocument/2006/relationships/slideLayout" Target="../slideLayouts/slideLayout258.xml"/><Relationship Id="rId22" Type="http://schemas.openxmlformats.org/officeDocument/2006/relationships/slideLayout" Target="../slideLayouts/slideLayout22.xml"/><Relationship Id="rId43" Type="http://schemas.openxmlformats.org/officeDocument/2006/relationships/slideLayout" Target="../slideLayouts/slideLayout43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139" Type="http://schemas.openxmlformats.org/officeDocument/2006/relationships/slideLayout" Target="../slideLayouts/slideLayout139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71" Type="http://schemas.openxmlformats.org/officeDocument/2006/relationships/slideLayout" Target="../slideLayouts/slideLayout171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227" Type="http://schemas.openxmlformats.org/officeDocument/2006/relationships/slideLayout" Target="../slideLayouts/slideLayout227.xml"/><Relationship Id="rId248" Type="http://schemas.openxmlformats.org/officeDocument/2006/relationships/slideLayout" Target="../slideLayouts/slideLayout248.xml"/><Relationship Id="rId269" Type="http://schemas.openxmlformats.org/officeDocument/2006/relationships/slideLayout" Target="../slideLayouts/slideLayout269.xml"/><Relationship Id="rId12" Type="http://schemas.openxmlformats.org/officeDocument/2006/relationships/slideLayout" Target="../slideLayouts/slideLayout12.xml"/><Relationship Id="rId33" Type="http://schemas.openxmlformats.org/officeDocument/2006/relationships/slideLayout" Target="../slideLayouts/slideLayout33.xml"/><Relationship Id="rId108" Type="http://schemas.openxmlformats.org/officeDocument/2006/relationships/slideLayout" Target="../slideLayouts/slideLayout108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5" Type="http://schemas.openxmlformats.org/officeDocument/2006/relationships/slideLayout" Target="../slideLayouts/slideLayout75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61" Type="http://schemas.openxmlformats.org/officeDocument/2006/relationships/slideLayout" Target="../slideLayouts/slideLayout161.xml"/><Relationship Id="rId182" Type="http://schemas.openxmlformats.org/officeDocument/2006/relationships/slideLayout" Target="../slideLayouts/slideLayout182.xml"/><Relationship Id="rId217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6.xml"/><Relationship Id="rId238" Type="http://schemas.openxmlformats.org/officeDocument/2006/relationships/slideLayout" Target="../slideLayouts/slideLayout238.xml"/><Relationship Id="rId259" Type="http://schemas.openxmlformats.org/officeDocument/2006/relationships/slideLayout" Target="../slideLayouts/slideLayout259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270" Type="http://schemas.openxmlformats.org/officeDocument/2006/relationships/slideLayout" Target="../slideLayouts/slideLayout270.xml"/><Relationship Id="rId44" Type="http://schemas.openxmlformats.org/officeDocument/2006/relationships/slideLayout" Target="../slideLayouts/slideLayout44.xml"/><Relationship Id="rId65" Type="http://schemas.openxmlformats.org/officeDocument/2006/relationships/slideLayout" Target="../slideLayouts/slideLayout65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51" Type="http://schemas.openxmlformats.org/officeDocument/2006/relationships/slideLayout" Target="../slideLayouts/slideLayout151.xml"/><Relationship Id="rId172" Type="http://schemas.openxmlformats.org/officeDocument/2006/relationships/slideLayout" Target="../slideLayouts/slideLayout172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228" Type="http://schemas.openxmlformats.org/officeDocument/2006/relationships/slideLayout" Target="../slideLayouts/slideLayout228.xml"/><Relationship Id="rId249" Type="http://schemas.openxmlformats.org/officeDocument/2006/relationships/slideLayout" Target="../slideLayouts/slideLayout249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260" Type="http://schemas.openxmlformats.org/officeDocument/2006/relationships/slideLayout" Target="../slideLayouts/slideLayout260.xml"/><Relationship Id="rId34" Type="http://schemas.openxmlformats.org/officeDocument/2006/relationships/slideLayout" Target="../slideLayouts/slideLayout34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141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7.xml"/><Relationship Id="rId162" Type="http://schemas.openxmlformats.org/officeDocument/2006/relationships/slideLayout" Target="../slideLayouts/slideLayout162.xml"/><Relationship Id="rId183" Type="http://schemas.openxmlformats.org/officeDocument/2006/relationships/slideLayout" Target="../slideLayouts/slideLayout183.xml"/><Relationship Id="rId218" Type="http://schemas.openxmlformats.org/officeDocument/2006/relationships/slideLayout" Target="../slideLayouts/slideLayout218.xml"/><Relationship Id="rId239" Type="http://schemas.openxmlformats.org/officeDocument/2006/relationships/slideLayout" Target="../slideLayouts/slideLayout239.xml"/><Relationship Id="rId250" Type="http://schemas.openxmlformats.org/officeDocument/2006/relationships/slideLayout" Target="../slideLayouts/slideLayout250.xml"/><Relationship Id="rId271" Type="http://schemas.openxmlformats.org/officeDocument/2006/relationships/slideLayout" Target="../slideLayouts/slideLayout271.xml"/><Relationship Id="rId24" Type="http://schemas.openxmlformats.org/officeDocument/2006/relationships/slideLayout" Target="../slideLayouts/slideLayout24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31" Type="http://schemas.openxmlformats.org/officeDocument/2006/relationships/slideLayout" Target="../slideLayouts/slideLayout131.xml"/><Relationship Id="rId152" Type="http://schemas.openxmlformats.org/officeDocument/2006/relationships/slideLayout" Target="../slideLayouts/slideLayout152.xml"/><Relationship Id="rId173" Type="http://schemas.openxmlformats.org/officeDocument/2006/relationships/slideLayout" Target="../slideLayouts/slideLayout173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229" Type="http://schemas.openxmlformats.org/officeDocument/2006/relationships/slideLayout" Target="../slideLayouts/slideLayout229.xml"/><Relationship Id="rId240" Type="http://schemas.openxmlformats.org/officeDocument/2006/relationships/slideLayout" Target="../slideLayouts/slideLayout240.xml"/><Relationship Id="rId261" Type="http://schemas.openxmlformats.org/officeDocument/2006/relationships/slideLayout" Target="../slideLayouts/slideLayout261.xml"/><Relationship Id="rId14" Type="http://schemas.openxmlformats.org/officeDocument/2006/relationships/slideLayout" Target="../slideLayouts/slideLayout14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8" Type="http://schemas.openxmlformats.org/officeDocument/2006/relationships/slideLayout" Target="../slideLayouts/slideLayout8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184" Type="http://schemas.openxmlformats.org/officeDocument/2006/relationships/slideLayout" Target="../slideLayouts/slideLayout184.xml"/><Relationship Id="rId219" Type="http://schemas.openxmlformats.org/officeDocument/2006/relationships/slideLayout" Target="../slideLayouts/slideLayout219.xml"/><Relationship Id="rId230" Type="http://schemas.openxmlformats.org/officeDocument/2006/relationships/slideLayout" Target="../slideLayouts/slideLayout230.xml"/><Relationship Id="rId251" Type="http://schemas.openxmlformats.org/officeDocument/2006/relationships/slideLayout" Target="../slideLayouts/slideLayout251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272" Type="http://schemas.openxmlformats.org/officeDocument/2006/relationships/slideLayout" Target="../slideLayouts/slideLayout272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Relationship Id="rId174" Type="http://schemas.openxmlformats.org/officeDocument/2006/relationships/slideLayout" Target="../slideLayouts/slideLayout174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220" Type="http://schemas.openxmlformats.org/officeDocument/2006/relationships/slideLayout" Target="../slideLayouts/slideLayout220.xml"/><Relationship Id="rId241" Type="http://schemas.openxmlformats.org/officeDocument/2006/relationships/slideLayout" Target="../slideLayouts/slideLayout241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262" Type="http://schemas.openxmlformats.org/officeDocument/2006/relationships/slideLayout" Target="../slideLayouts/slideLayout262.xml"/><Relationship Id="rId78" Type="http://schemas.openxmlformats.org/officeDocument/2006/relationships/slideLayout" Target="../slideLayouts/slideLayout78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64" Type="http://schemas.openxmlformats.org/officeDocument/2006/relationships/slideLayout" Target="../slideLayouts/slideLayout164.xml"/><Relationship Id="rId185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9.xml"/><Relationship Id="rId210" Type="http://schemas.openxmlformats.org/officeDocument/2006/relationships/slideLayout" Target="../slideLayouts/slideLayout210.xml"/><Relationship Id="rId26" Type="http://schemas.openxmlformats.org/officeDocument/2006/relationships/slideLayout" Target="../slideLayouts/slideLayout26.xml"/><Relationship Id="rId231" Type="http://schemas.openxmlformats.org/officeDocument/2006/relationships/slideLayout" Target="../slideLayouts/slideLayout231.xml"/><Relationship Id="rId252" Type="http://schemas.openxmlformats.org/officeDocument/2006/relationships/slideLayout" Target="../slideLayouts/slideLayout252.xml"/><Relationship Id="rId273" Type="http://schemas.openxmlformats.org/officeDocument/2006/relationships/theme" Target="../theme/theme1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54" Type="http://schemas.openxmlformats.org/officeDocument/2006/relationships/slideLayout" Target="../slideLayouts/slideLayout154.xml"/><Relationship Id="rId175" Type="http://schemas.openxmlformats.org/officeDocument/2006/relationships/slideLayout" Target="../slideLayouts/slideLayout175.xml"/><Relationship Id="rId196" Type="http://schemas.openxmlformats.org/officeDocument/2006/relationships/slideLayout" Target="../slideLayouts/slideLayout196.xml"/><Relationship Id="rId200" Type="http://schemas.openxmlformats.org/officeDocument/2006/relationships/slideLayout" Target="../slideLayouts/slideLayout200.xml"/><Relationship Id="rId16" Type="http://schemas.openxmlformats.org/officeDocument/2006/relationships/slideLayout" Target="../slideLayouts/slideLayout16.xml"/><Relationship Id="rId221" Type="http://schemas.openxmlformats.org/officeDocument/2006/relationships/slideLayout" Target="../slideLayouts/slideLayout221.xml"/><Relationship Id="rId242" Type="http://schemas.openxmlformats.org/officeDocument/2006/relationships/slideLayout" Target="../slideLayouts/slideLayout242.xml"/><Relationship Id="rId263" Type="http://schemas.openxmlformats.org/officeDocument/2006/relationships/slideLayout" Target="../slideLayouts/slideLayout263.xml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65" Type="http://schemas.openxmlformats.org/officeDocument/2006/relationships/slideLayout" Target="../slideLayouts/slideLayout165.xml"/><Relationship Id="rId186" Type="http://schemas.openxmlformats.org/officeDocument/2006/relationships/slideLayout" Target="../slideLayouts/slideLayout186.xml"/><Relationship Id="rId211" Type="http://schemas.openxmlformats.org/officeDocument/2006/relationships/slideLayout" Target="../slideLayouts/slideLayout211.xml"/><Relationship Id="rId232" Type="http://schemas.openxmlformats.org/officeDocument/2006/relationships/slideLayout" Target="../slideLayouts/slideLayout232.xml"/><Relationship Id="rId253" Type="http://schemas.openxmlformats.org/officeDocument/2006/relationships/slideLayout" Target="../slideLayouts/slideLayout253.xml"/><Relationship Id="rId27" Type="http://schemas.openxmlformats.org/officeDocument/2006/relationships/slideLayout" Target="../slideLayouts/slideLayout27.xml"/><Relationship Id="rId48" Type="http://schemas.openxmlformats.org/officeDocument/2006/relationships/slideLayout" Target="../slideLayouts/slideLayout48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55" Type="http://schemas.openxmlformats.org/officeDocument/2006/relationships/slideLayout" Target="../slideLayouts/slideLayout155.xml"/><Relationship Id="rId176" Type="http://schemas.openxmlformats.org/officeDocument/2006/relationships/slideLayout" Target="../slideLayouts/slideLayout176.xml"/><Relationship Id="rId197" Type="http://schemas.openxmlformats.org/officeDocument/2006/relationships/slideLayout" Target="../slideLayouts/slideLayout197.xml"/><Relationship Id="rId201" Type="http://schemas.openxmlformats.org/officeDocument/2006/relationships/slideLayout" Target="../slideLayouts/slideLayout201.xml"/><Relationship Id="rId222" Type="http://schemas.openxmlformats.org/officeDocument/2006/relationships/slideLayout" Target="../slideLayouts/slideLayout222.xml"/><Relationship Id="rId243" Type="http://schemas.openxmlformats.org/officeDocument/2006/relationships/slideLayout" Target="../slideLayouts/slideLayout243.xml"/><Relationship Id="rId264" Type="http://schemas.openxmlformats.org/officeDocument/2006/relationships/slideLayout" Target="../slideLayouts/slideLayout264.xml"/><Relationship Id="rId17" Type="http://schemas.openxmlformats.org/officeDocument/2006/relationships/slideLayout" Target="../slideLayouts/slideLayout17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24" Type="http://schemas.openxmlformats.org/officeDocument/2006/relationships/slideLayout" Target="../slideLayouts/slideLayout124.xml"/><Relationship Id="rId70" Type="http://schemas.openxmlformats.org/officeDocument/2006/relationships/slideLayout" Target="../slideLayouts/slideLayout7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66" Type="http://schemas.openxmlformats.org/officeDocument/2006/relationships/slideLayout" Target="../slideLayouts/slideLayout166.xml"/><Relationship Id="rId187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.xml"/><Relationship Id="rId212" Type="http://schemas.openxmlformats.org/officeDocument/2006/relationships/slideLayout" Target="../slideLayouts/slideLayout212.xml"/><Relationship Id="rId233" Type="http://schemas.openxmlformats.org/officeDocument/2006/relationships/slideLayout" Target="../slideLayouts/slideLayout233.xml"/><Relationship Id="rId254" Type="http://schemas.openxmlformats.org/officeDocument/2006/relationships/slideLayout" Target="../slideLayouts/slideLayout254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60" Type="http://schemas.openxmlformats.org/officeDocument/2006/relationships/slideLayout" Target="../slideLayouts/slideLayout6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56" Type="http://schemas.openxmlformats.org/officeDocument/2006/relationships/slideLayout" Target="../slideLayouts/slideLayout156.xml"/><Relationship Id="rId177" Type="http://schemas.openxmlformats.org/officeDocument/2006/relationships/slideLayout" Target="../slideLayouts/slideLayout177.xml"/><Relationship Id="rId198" Type="http://schemas.openxmlformats.org/officeDocument/2006/relationships/slideLayout" Target="../slideLayouts/slideLayout198.xml"/><Relationship Id="rId202" Type="http://schemas.openxmlformats.org/officeDocument/2006/relationships/slideLayout" Target="../slideLayouts/slideLayout202.xml"/><Relationship Id="rId223" Type="http://schemas.openxmlformats.org/officeDocument/2006/relationships/slideLayout" Target="../slideLayouts/slideLayout223.xml"/><Relationship Id="rId244" Type="http://schemas.openxmlformats.org/officeDocument/2006/relationships/slideLayout" Target="../slideLayouts/slideLayout244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265" Type="http://schemas.openxmlformats.org/officeDocument/2006/relationships/slideLayout" Target="../slideLayouts/slideLayout265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25" Type="http://schemas.openxmlformats.org/officeDocument/2006/relationships/slideLayout" Target="../slideLayouts/slideLayout125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188" Type="http://schemas.openxmlformats.org/officeDocument/2006/relationships/slideLayout" Target="../slideLayouts/slideLayout188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234" Type="http://schemas.openxmlformats.org/officeDocument/2006/relationships/slideLayout" Target="../slideLayouts/slideLayout234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55" Type="http://schemas.openxmlformats.org/officeDocument/2006/relationships/slideLayout" Target="../slideLayouts/slideLayout255.xml"/><Relationship Id="rId40" Type="http://schemas.openxmlformats.org/officeDocument/2006/relationships/slideLayout" Target="../slideLayouts/slideLayout40.xml"/><Relationship Id="rId115" Type="http://schemas.openxmlformats.org/officeDocument/2006/relationships/slideLayout" Target="../slideLayouts/slideLayout115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9" Type="http://schemas.openxmlformats.org/officeDocument/2006/relationships/slideLayout" Target="../slideLayouts/slideLayout199.xml"/><Relationship Id="rId203" Type="http://schemas.openxmlformats.org/officeDocument/2006/relationships/slideLayout" Target="../slideLayouts/slideLayout203.xml"/><Relationship Id="rId19" Type="http://schemas.openxmlformats.org/officeDocument/2006/relationships/slideLayout" Target="../slideLayouts/slideLayout19.xml"/><Relationship Id="rId224" Type="http://schemas.openxmlformats.org/officeDocument/2006/relationships/slideLayout" Target="../slideLayouts/slideLayout224.xml"/><Relationship Id="rId245" Type="http://schemas.openxmlformats.org/officeDocument/2006/relationships/slideLayout" Target="../slideLayouts/slideLayout245.xml"/><Relationship Id="rId266" Type="http://schemas.openxmlformats.org/officeDocument/2006/relationships/slideLayout" Target="../slideLayouts/slideLayout266.xml"/><Relationship Id="rId30" Type="http://schemas.openxmlformats.org/officeDocument/2006/relationships/slideLayout" Target="../slideLayouts/slideLayout3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189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3.xml"/><Relationship Id="rId214" Type="http://schemas.openxmlformats.org/officeDocument/2006/relationships/slideLayout" Target="../slideLayouts/slideLayout214.xml"/><Relationship Id="rId235" Type="http://schemas.openxmlformats.org/officeDocument/2006/relationships/slideLayout" Target="../slideLayouts/slideLayout235.xml"/><Relationship Id="rId256" Type="http://schemas.openxmlformats.org/officeDocument/2006/relationships/slideLayout" Target="../slideLayouts/slideLayout256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179" Type="http://schemas.openxmlformats.org/officeDocument/2006/relationships/slideLayout" Target="../slideLayouts/slideLayout179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225" Type="http://schemas.openxmlformats.org/officeDocument/2006/relationships/slideLayout" Target="../slideLayouts/slideLayout225.xml"/><Relationship Id="rId246" Type="http://schemas.openxmlformats.org/officeDocument/2006/relationships/slideLayout" Target="../slideLayouts/slideLayout246.xml"/><Relationship Id="rId267" Type="http://schemas.openxmlformats.org/officeDocument/2006/relationships/slideLayout" Target="../slideLayouts/slideLayout26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94" Type="http://schemas.openxmlformats.org/officeDocument/2006/relationships/slideLayout" Target="../slideLayouts/slideLayout94.xml"/><Relationship Id="rId148" Type="http://schemas.openxmlformats.org/officeDocument/2006/relationships/slideLayout" Target="../slideLayouts/slideLayout148.xml"/><Relationship Id="rId169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4.xml"/><Relationship Id="rId180" Type="http://schemas.openxmlformats.org/officeDocument/2006/relationships/slideLayout" Target="../slideLayouts/slideLayout180.xml"/><Relationship Id="rId215" Type="http://schemas.openxmlformats.org/officeDocument/2006/relationships/slideLayout" Target="../slideLayouts/slideLayout215.xml"/><Relationship Id="rId236" Type="http://schemas.openxmlformats.org/officeDocument/2006/relationships/slideLayout" Target="../slideLayouts/slideLayout236.xml"/><Relationship Id="rId257" Type="http://schemas.openxmlformats.org/officeDocument/2006/relationships/slideLayout" Target="../slideLayouts/slideLayout257.xml"/><Relationship Id="rId42" Type="http://schemas.openxmlformats.org/officeDocument/2006/relationships/slideLayout" Target="../slideLayouts/slideLayout42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247" Type="http://schemas.openxmlformats.org/officeDocument/2006/relationships/slideLayout" Target="../slideLayouts/slideLayout247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53" Type="http://schemas.openxmlformats.org/officeDocument/2006/relationships/slideLayout" Target="../slideLayouts/slideLayout53.xml"/><Relationship Id="rId149" Type="http://schemas.openxmlformats.org/officeDocument/2006/relationships/slideLayout" Target="../slideLayouts/slideLayout149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389.xml"/><Relationship Id="rId21" Type="http://schemas.openxmlformats.org/officeDocument/2006/relationships/slideLayout" Target="../slideLayouts/slideLayout293.xml"/><Relationship Id="rId42" Type="http://schemas.openxmlformats.org/officeDocument/2006/relationships/slideLayout" Target="../slideLayouts/slideLayout314.xml"/><Relationship Id="rId63" Type="http://schemas.openxmlformats.org/officeDocument/2006/relationships/slideLayout" Target="../slideLayouts/slideLayout335.xml"/><Relationship Id="rId84" Type="http://schemas.openxmlformats.org/officeDocument/2006/relationships/slideLayout" Target="../slideLayouts/slideLayout356.xml"/><Relationship Id="rId138" Type="http://schemas.openxmlformats.org/officeDocument/2006/relationships/slideLayout" Target="../slideLayouts/slideLayout410.xml"/><Relationship Id="rId107" Type="http://schemas.openxmlformats.org/officeDocument/2006/relationships/slideLayout" Target="../slideLayouts/slideLayout379.xml"/><Relationship Id="rId11" Type="http://schemas.openxmlformats.org/officeDocument/2006/relationships/slideLayout" Target="../slideLayouts/slideLayout283.xml"/><Relationship Id="rId32" Type="http://schemas.openxmlformats.org/officeDocument/2006/relationships/slideLayout" Target="../slideLayouts/slideLayout304.xml"/><Relationship Id="rId53" Type="http://schemas.openxmlformats.org/officeDocument/2006/relationships/slideLayout" Target="../slideLayouts/slideLayout325.xml"/><Relationship Id="rId74" Type="http://schemas.openxmlformats.org/officeDocument/2006/relationships/slideLayout" Target="../slideLayouts/slideLayout346.xml"/><Relationship Id="rId128" Type="http://schemas.openxmlformats.org/officeDocument/2006/relationships/slideLayout" Target="../slideLayouts/slideLayout400.xml"/><Relationship Id="rId149" Type="http://schemas.openxmlformats.org/officeDocument/2006/relationships/slideLayout" Target="../slideLayouts/slideLayout421.xml"/><Relationship Id="rId5" Type="http://schemas.openxmlformats.org/officeDocument/2006/relationships/slideLayout" Target="../slideLayouts/slideLayout277.xml"/><Relationship Id="rId95" Type="http://schemas.openxmlformats.org/officeDocument/2006/relationships/slideLayout" Target="../slideLayouts/slideLayout367.xml"/><Relationship Id="rId22" Type="http://schemas.openxmlformats.org/officeDocument/2006/relationships/slideLayout" Target="../slideLayouts/slideLayout294.xml"/><Relationship Id="rId27" Type="http://schemas.openxmlformats.org/officeDocument/2006/relationships/slideLayout" Target="../slideLayouts/slideLayout299.xml"/><Relationship Id="rId43" Type="http://schemas.openxmlformats.org/officeDocument/2006/relationships/slideLayout" Target="../slideLayouts/slideLayout315.xml"/><Relationship Id="rId48" Type="http://schemas.openxmlformats.org/officeDocument/2006/relationships/slideLayout" Target="../slideLayouts/slideLayout320.xml"/><Relationship Id="rId64" Type="http://schemas.openxmlformats.org/officeDocument/2006/relationships/slideLayout" Target="../slideLayouts/slideLayout336.xml"/><Relationship Id="rId69" Type="http://schemas.openxmlformats.org/officeDocument/2006/relationships/slideLayout" Target="../slideLayouts/slideLayout341.xml"/><Relationship Id="rId113" Type="http://schemas.openxmlformats.org/officeDocument/2006/relationships/slideLayout" Target="../slideLayouts/slideLayout385.xml"/><Relationship Id="rId118" Type="http://schemas.openxmlformats.org/officeDocument/2006/relationships/slideLayout" Target="../slideLayouts/slideLayout390.xml"/><Relationship Id="rId134" Type="http://schemas.openxmlformats.org/officeDocument/2006/relationships/slideLayout" Target="../slideLayouts/slideLayout406.xml"/><Relationship Id="rId139" Type="http://schemas.openxmlformats.org/officeDocument/2006/relationships/slideLayout" Target="../slideLayouts/slideLayout411.xml"/><Relationship Id="rId80" Type="http://schemas.openxmlformats.org/officeDocument/2006/relationships/slideLayout" Target="../slideLayouts/slideLayout352.xml"/><Relationship Id="rId85" Type="http://schemas.openxmlformats.org/officeDocument/2006/relationships/slideLayout" Target="../slideLayouts/slideLayout357.xml"/><Relationship Id="rId150" Type="http://schemas.openxmlformats.org/officeDocument/2006/relationships/theme" Target="../theme/theme2.xml"/><Relationship Id="rId12" Type="http://schemas.openxmlformats.org/officeDocument/2006/relationships/slideLayout" Target="../slideLayouts/slideLayout284.xml"/><Relationship Id="rId17" Type="http://schemas.openxmlformats.org/officeDocument/2006/relationships/slideLayout" Target="../slideLayouts/slideLayout289.xml"/><Relationship Id="rId33" Type="http://schemas.openxmlformats.org/officeDocument/2006/relationships/slideLayout" Target="../slideLayouts/slideLayout305.xml"/><Relationship Id="rId38" Type="http://schemas.openxmlformats.org/officeDocument/2006/relationships/slideLayout" Target="../slideLayouts/slideLayout310.xml"/><Relationship Id="rId59" Type="http://schemas.openxmlformats.org/officeDocument/2006/relationships/slideLayout" Target="../slideLayouts/slideLayout331.xml"/><Relationship Id="rId103" Type="http://schemas.openxmlformats.org/officeDocument/2006/relationships/slideLayout" Target="../slideLayouts/slideLayout375.xml"/><Relationship Id="rId108" Type="http://schemas.openxmlformats.org/officeDocument/2006/relationships/slideLayout" Target="../slideLayouts/slideLayout380.xml"/><Relationship Id="rId124" Type="http://schemas.openxmlformats.org/officeDocument/2006/relationships/slideLayout" Target="../slideLayouts/slideLayout396.xml"/><Relationship Id="rId129" Type="http://schemas.openxmlformats.org/officeDocument/2006/relationships/slideLayout" Target="../slideLayouts/slideLayout401.xml"/><Relationship Id="rId54" Type="http://schemas.openxmlformats.org/officeDocument/2006/relationships/slideLayout" Target="../slideLayouts/slideLayout326.xml"/><Relationship Id="rId70" Type="http://schemas.openxmlformats.org/officeDocument/2006/relationships/slideLayout" Target="../slideLayouts/slideLayout342.xml"/><Relationship Id="rId75" Type="http://schemas.openxmlformats.org/officeDocument/2006/relationships/slideLayout" Target="../slideLayouts/slideLayout347.xml"/><Relationship Id="rId91" Type="http://schemas.openxmlformats.org/officeDocument/2006/relationships/slideLayout" Target="../slideLayouts/slideLayout363.xml"/><Relationship Id="rId96" Type="http://schemas.openxmlformats.org/officeDocument/2006/relationships/slideLayout" Target="../slideLayouts/slideLayout368.xml"/><Relationship Id="rId140" Type="http://schemas.openxmlformats.org/officeDocument/2006/relationships/slideLayout" Target="../slideLayouts/slideLayout412.xml"/><Relationship Id="rId145" Type="http://schemas.openxmlformats.org/officeDocument/2006/relationships/slideLayout" Target="../slideLayouts/slideLayout417.xml"/><Relationship Id="rId1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8.xml"/><Relationship Id="rId23" Type="http://schemas.openxmlformats.org/officeDocument/2006/relationships/slideLayout" Target="../slideLayouts/slideLayout295.xml"/><Relationship Id="rId28" Type="http://schemas.openxmlformats.org/officeDocument/2006/relationships/slideLayout" Target="../slideLayouts/slideLayout300.xml"/><Relationship Id="rId49" Type="http://schemas.openxmlformats.org/officeDocument/2006/relationships/slideLayout" Target="../slideLayouts/slideLayout321.xml"/><Relationship Id="rId114" Type="http://schemas.openxmlformats.org/officeDocument/2006/relationships/slideLayout" Target="../slideLayouts/slideLayout386.xml"/><Relationship Id="rId119" Type="http://schemas.openxmlformats.org/officeDocument/2006/relationships/slideLayout" Target="../slideLayouts/slideLayout391.xml"/><Relationship Id="rId44" Type="http://schemas.openxmlformats.org/officeDocument/2006/relationships/slideLayout" Target="../slideLayouts/slideLayout316.xml"/><Relationship Id="rId60" Type="http://schemas.openxmlformats.org/officeDocument/2006/relationships/slideLayout" Target="../slideLayouts/slideLayout332.xml"/><Relationship Id="rId65" Type="http://schemas.openxmlformats.org/officeDocument/2006/relationships/slideLayout" Target="../slideLayouts/slideLayout337.xml"/><Relationship Id="rId81" Type="http://schemas.openxmlformats.org/officeDocument/2006/relationships/slideLayout" Target="../slideLayouts/slideLayout353.xml"/><Relationship Id="rId86" Type="http://schemas.openxmlformats.org/officeDocument/2006/relationships/slideLayout" Target="../slideLayouts/slideLayout358.xml"/><Relationship Id="rId130" Type="http://schemas.openxmlformats.org/officeDocument/2006/relationships/slideLayout" Target="../slideLayouts/slideLayout402.xml"/><Relationship Id="rId135" Type="http://schemas.openxmlformats.org/officeDocument/2006/relationships/slideLayout" Target="../slideLayouts/slideLayout407.xml"/><Relationship Id="rId13" Type="http://schemas.openxmlformats.org/officeDocument/2006/relationships/slideLayout" Target="../slideLayouts/slideLayout285.xml"/><Relationship Id="rId18" Type="http://schemas.openxmlformats.org/officeDocument/2006/relationships/slideLayout" Target="../slideLayouts/slideLayout290.xml"/><Relationship Id="rId39" Type="http://schemas.openxmlformats.org/officeDocument/2006/relationships/slideLayout" Target="../slideLayouts/slideLayout311.xml"/><Relationship Id="rId109" Type="http://schemas.openxmlformats.org/officeDocument/2006/relationships/slideLayout" Target="../slideLayouts/slideLayout381.xml"/><Relationship Id="rId34" Type="http://schemas.openxmlformats.org/officeDocument/2006/relationships/slideLayout" Target="../slideLayouts/slideLayout306.xml"/><Relationship Id="rId50" Type="http://schemas.openxmlformats.org/officeDocument/2006/relationships/slideLayout" Target="../slideLayouts/slideLayout322.xml"/><Relationship Id="rId55" Type="http://schemas.openxmlformats.org/officeDocument/2006/relationships/slideLayout" Target="../slideLayouts/slideLayout327.xml"/><Relationship Id="rId76" Type="http://schemas.openxmlformats.org/officeDocument/2006/relationships/slideLayout" Target="../slideLayouts/slideLayout348.xml"/><Relationship Id="rId97" Type="http://schemas.openxmlformats.org/officeDocument/2006/relationships/slideLayout" Target="../slideLayouts/slideLayout369.xml"/><Relationship Id="rId104" Type="http://schemas.openxmlformats.org/officeDocument/2006/relationships/slideLayout" Target="../slideLayouts/slideLayout376.xml"/><Relationship Id="rId120" Type="http://schemas.openxmlformats.org/officeDocument/2006/relationships/slideLayout" Target="../slideLayouts/slideLayout392.xml"/><Relationship Id="rId125" Type="http://schemas.openxmlformats.org/officeDocument/2006/relationships/slideLayout" Target="../slideLayouts/slideLayout397.xml"/><Relationship Id="rId141" Type="http://schemas.openxmlformats.org/officeDocument/2006/relationships/slideLayout" Target="../slideLayouts/slideLayout413.xml"/><Relationship Id="rId146" Type="http://schemas.openxmlformats.org/officeDocument/2006/relationships/slideLayout" Target="../slideLayouts/slideLayout418.xml"/><Relationship Id="rId7" Type="http://schemas.openxmlformats.org/officeDocument/2006/relationships/slideLayout" Target="../slideLayouts/slideLayout279.xml"/><Relationship Id="rId71" Type="http://schemas.openxmlformats.org/officeDocument/2006/relationships/slideLayout" Target="../slideLayouts/slideLayout343.xml"/><Relationship Id="rId92" Type="http://schemas.openxmlformats.org/officeDocument/2006/relationships/slideLayout" Target="../slideLayouts/slideLayout364.xml"/><Relationship Id="rId2" Type="http://schemas.openxmlformats.org/officeDocument/2006/relationships/slideLayout" Target="../slideLayouts/slideLayout274.xml"/><Relationship Id="rId29" Type="http://schemas.openxmlformats.org/officeDocument/2006/relationships/slideLayout" Target="../slideLayouts/slideLayout301.xml"/><Relationship Id="rId24" Type="http://schemas.openxmlformats.org/officeDocument/2006/relationships/slideLayout" Target="../slideLayouts/slideLayout296.xml"/><Relationship Id="rId40" Type="http://schemas.openxmlformats.org/officeDocument/2006/relationships/slideLayout" Target="../slideLayouts/slideLayout312.xml"/><Relationship Id="rId45" Type="http://schemas.openxmlformats.org/officeDocument/2006/relationships/slideLayout" Target="../slideLayouts/slideLayout317.xml"/><Relationship Id="rId66" Type="http://schemas.openxmlformats.org/officeDocument/2006/relationships/slideLayout" Target="../slideLayouts/slideLayout338.xml"/><Relationship Id="rId87" Type="http://schemas.openxmlformats.org/officeDocument/2006/relationships/slideLayout" Target="../slideLayouts/slideLayout359.xml"/><Relationship Id="rId110" Type="http://schemas.openxmlformats.org/officeDocument/2006/relationships/slideLayout" Target="../slideLayouts/slideLayout382.xml"/><Relationship Id="rId115" Type="http://schemas.openxmlformats.org/officeDocument/2006/relationships/slideLayout" Target="../slideLayouts/slideLayout387.xml"/><Relationship Id="rId131" Type="http://schemas.openxmlformats.org/officeDocument/2006/relationships/slideLayout" Target="../slideLayouts/slideLayout403.xml"/><Relationship Id="rId136" Type="http://schemas.openxmlformats.org/officeDocument/2006/relationships/slideLayout" Target="../slideLayouts/slideLayout408.xml"/><Relationship Id="rId61" Type="http://schemas.openxmlformats.org/officeDocument/2006/relationships/slideLayout" Target="../slideLayouts/slideLayout333.xml"/><Relationship Id="rId82" Type="http://schemas.openxmlformats.org/officeDocument/2006/relationships/slideLayout" Target="../slideLayouts/slideLayout354.xml"/><Relationship Id="rId19" Type="http://schemas.openxmlformats.org/officeDocument/2006/relationships/slideLayout" Target="../slideLayouts/slideLayout291.xml"/><Relationship Id="rId14" Type="http://schemas.openxmlformats.org/officeDocument/2006/relationships/slideLayout" Target="../slideLayouts/slideLayout286.xml"/><Relationship Id="rId30" Type="http://schemas.openxmlformats.org/officeDocument/2006/relationships/slideLayout" Target="../slideLayouts/slideLayout302.xml"/><Relationship Id="rId35" Type="http://schemas.openxmlformats.org/officeDocument/2006/relationships/slideLayout" Target="../slideLayouts/slideLayout307.xml"/><Relationship Id="rId56" Type="http://schemas.openxmlformats.org/officeDocument/2006/relationships/slideLayout" Target="../slideLayouts/slideLayout328.xml"/><Relationship Id="rId77" Type="http://schemas.openxmlformats.org/officeDocument/2006/relationships/slideLayout" Target="../slideLayouts/slideLayout349.xml"/><Relationship Id="rId100" Type="http://schemas.openxmlformats.org/officeDocument/2006/relationships/slideLayout" Target="../slideLayouts/slideLayout372.xml"/><Relationship Id="rId105" Type="http://schemas.openxmlformats.org/officeDocument/2006/relationships/slideLayout" Target="../slideLayouts/slideLayout377.xml"/><Relationship Id="rId126" Type="http://schemas.openxmlformats.org/officeDocument/2006/relationships/slideLayout" Target="../slideLayouts/slideLayout398.xml"/><Relationship Id="rId147" Type="http://schemas.openxmlformats.org/officeDocument/2006/relationships/slideLayout" Target="../slideLayouts/slideLayout419.xml"/><Relationship Id="rId8" Type="http://schemas.openxmlformats.org/officeDocument/2006/relationships/slideLayout" Target="../slideLayouts/slideLayout280.xml"/><Relationship Id="rId51" Type="http://schemas.openxmlformats.org/officeDocument/2006/relationships/slideLayout" Target="../slideLayouts/slideLayout323.xml"/><Relationship Id="rId72" Type="http://schemas.openxmlformats.org/officeDocument/2006/relationships/slideLayout" Target="../slideLayouts/slideLayout344.xml"/><Relationship Id="rId93" Type="http://schemas.openxmlformats.org/officeDocument/2006/relationships/slideLayout" Target="../slideLayouts/slideLayout365.xml"/><Relationship Id="rId98" Type="http://schemas.openxmlformats.org/officeDocument/2006/relationships/slideLayout" Target="../slideLayouts/slideLayout370.xml"/><Relationship Id="rId121" Type="http://schemas.openxmlformats.org/officeDocument/2006/relationships/slideLayout" Target="../slideLayouts/slideLayout393.xml"/><Relationship Id="rId142" Type="http://schemas.openxmlformats.org/officeDocument/2006/relationships/slideLayout" Target="../slideLayouts/slideLayout414.xml"/><Relationship Id="rId3" Type="http://schemas.openxmlformats.org/officeDocument/2006/relationships/slideLayout" Target="../slideLayouts/slideLayout275.xml"/><Relationship Id="rId25" Type="http://schemas.openxmlformats.org/officeDocument/2006/relationships/slideLayout" Target="../slideLayouts/slideLayout297.xml"/><Relationship Id="rId46" Type="http://schemas.openxmlformats.org/officeDocument/2006/relationships/slideLayout" Target="../slideLayouts/slideLayout318.xml"/><Relationship Id="rId67" Type="http://schemas.openxmlformats.org/officeDocument/2006/relationships/slideLayout" Target="../slideLayouts/slideLayout339.xml"/><Relationship Id="rId116" Type="http://schemas.openxmlformats.org/officeDocument/2006/relationships/slideLayout" Target="../slideLayouts/slideLayout388.xml"/><Relationship Id="rId137" Type="http://schemas.openxmlformats.org/officeDocument/2006/relationships/slideLayout" Target="../slideLayouts/slideLayout409.xml"/><Relationship Id="rId20" Type="http://schemas.openxmlformats.org/officeDocument/2006/relationships/slideLayout" Target="../slideLayouts/slideLayout292.xml"/><Relationship Id="rId41" Type="http://schemas.openxmlformats.org/officeDocument/2006/relationships/slideLayout" Target="../slideLayouts/slideLayout313.xml"/><Relationship Id="rId62" Type="http://schemas.openxmlformats.org/officeDocument/2006/relationships/slideLayout" Target="../slideLayouts/slideLayout334.xml"/><Relationship Id="rId83" Type="http://schemas.openxmlformats.org/officeDocument/2006/relationships/slideLayout" Target="../slideLayouts/slideLayout355.xml"/><Relationship Id="rId88" Type="http://schemas.openxmlformats.org/officeDocument/2006/relationships/slideLayout" Target="../slideLayouts/slideLayout360.xml"/><Relationship Id="rId111" Type="http://schemas.openxmlformats.org/officeDocument/2006/relationships/slideLayout" Target="../slideLayouts/slideLayout383.xml"/><Relationship Id="rId132" Type="http://schemas.openxmlformats.org/officeDocument/2006/relationships/slideLayout" Target="../slideLayouts/slideLayout404.xml"/><Relationship Id="rId15" Type="http://schemas.openxmlformats.org/officeDocument/2006/relationships/slideLayout" Target="../slideLayouts/slideLayout287.xml"/><Relationship Id="rId36" Type="http://schemas.openxmlformats.org/officeDocument/2006/relationships/slideLayout" Target="../slideLayouts/slideLayout308.xml"/><Relationship Id="rId57" Type="http://schemas.openxmlformats.org/officeDocument/2006/relationships/slideLayout" Target="../slideLayouts/slideLayout329.xml"/><Relationship Id="rId106" Type="http://schemas.openxmlformats.org/officeDocument/2006/relationships/slideLayout" Target="../slideLayouts/slideLayout378.xml"/><Relationship Id="rId127" Type="http://schemas.openxmlformats.org/officeDocument/2006/relationships/slideLayout" Target="../slideLayouts/slideLayout399.xml"/><Relationship Id="rId10" Type="http://schemas.openxmlformats.org/officeDocument/2006/relationships/slideLayout" Target="../slideLayouts/slideLayout282.xml"/><Relationship Id="rId31" Type="http://schemas.openxmlformats.org/officeDocument/2006/relationships/slideLayout" Target="../slideLayouts/slideLayout303.xml"/><Relationship Id="rId52" Type="http://schemas.openxmlformats.org/officeDocument/2006/relationships/slideLayout" Target="../slideLayouts/slideLayout324.xml"/><Relationship Id="rId73" Type="http://schemas.openxmlformats.org/officeDocument/2006/relationships/slideLayout" Target="../slideLayouts/slideLayout345.xml"/><Relationship Id="rId78" Type="http://schemas.openxmlformats.org/officeDocument/2006/relationships/slideLayout" Target="../slideLayouts/slideLayout350.xml"/><Relationship Id="rId94" Type="http://schemas.openxmlformats.org/officeDocument/2006/relationships/slideLayout" Target="../slideLayouts/slideLayout366.xml"/><Relationship Id="rId99" Type="http://schemas.openxmlformats.org/officeDocument/2006/relationships/slideLayout" Target="../slideLayouts/slideLayout371.xml"/><Relationship Id="rId101" Type="http://schemas.openxmlformats.org/officeDocument/2006/relationships/slideLayout" Target="../slideLayouts/slideLayout373.xml"/><Relationship Id="rId122" Type="http://schemas.openxmlformats.org/officeDocument/2006/relationships/slideLayout" Target="../slideLayouts/slideLayout394.xml"/><Relationship Id="rId143" Type="http://schemas.openxmlformats.org/officeDocument/2006/relationships/slideLayout" Target="../slideLayouts/slideLayout415.xml"/><Relationship Id="rId148" Type="http://schemas.openxmlformats.org/officeDocument/2006/relationships/slideLayout" Target="../slideLayouts/slideLayout420.xml"/><Relationship Id="rId4" Type="http://schemas.openxmlformats.org/officeDocument/2006/relationships/slideLayout" Target="../slideLayouts/slideLayout276.xml"/><Relationship Id="rId9" Type="http://schemas.openxmlformats.org/officeDocument/2006/relationships/slideLayout" Target="../slideLayouts/slideLayout281.xml"/><Relationship Id="rId26" Type="http://schemas.openxmlformats.org/officeDocument/2006/relationships/slideLayout" Target="../slideLayouts/slideLayout298.xml"/><Relationship Id="rId47" Type="http://schemas.openxmlformats.org/officeDocument/2006/relationships/slideLayout" Target="../slideLayouts/slideLayout319.xml"/><Relationship Id="rId68" Type="http://schemas.openxmlformats.org/officeDocument/2006/relationships/slideLayout" Target="../slideLayouts/slideLayout340.xml"/><Relationship Id="rId89" Type="http://schemas.openxmlformats.org/officeDocument/2006/relationships/slideLayout" Target="../slideLayouts/slideLayout361.xml"/><Relationship Id="rId112" Type="http://schemas.openxmlformats.org/officeDocument/2006/relationships/slideLayout" Target="../slideLayouts/slideLayout384.xml"/><Relationship Id="rId133" Type="http://schemas.openxmlformats.org/officeDocument/2006/relationships/slideLayout" Target="../slideLayouts/slideLayout405.xml"/><Relationship Id="rId16" Type="http://schemas.openxmlformats.org/officeDocument/2006/relationships/slideLayout" Target="../slideLayouts/slideLayout288.xml"/><Relationship Id="rId37" Type="http://schemas.openxmlformats.org/officeDocument/2006/relationships/slideLayout" Target="../slideLayouts/slideLayout309.xml"/><Relationship Id="rId58" Type="http://schemas.openxmlformats.org/officeDocument/2006/relationships/slideLayout" Target="../slideLayouts/slideLayout330.xml"/><Relationship Id="rId79" Type="http://schemas.openxmlformats.org/officeDocument/2006/relationships/slideLayout" Target="../slideLayouts/slideLayout351.xml"/><Relationship Id="rId102" Type="http://schemas.openxmlformats.org/officeDocument/2006/relationships/slideLayout" Target="../slideLayouts/slideLayout374.xml"/><Relationship Id="rId123" Type="http://schemas.openxmlformats.org/officeDocument/2006/relationships/slideLayout" Target="../slideLayouts/slideLayout395.xml"/><Relationship Id="rId144" Type="http://schemas.openxmlformats.org/officeDocument/2006/relationships/slideLayout" Target="../slideLayouts/slideLayout416.xml"/><Relationship Id="rId90" Type="http://schemas.openxmlformats.org/officeDocument/2006/relationships/slideLayout" Target="../slideLayouts/slideLayout362.xml"/></Relationships>
</file>

<file path=ppt/slideMasters/_rels/slideMaster3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538.xml"/><Relationship Id="rId299" Type="http://schemas.openxmlformats.org/officeDocument/2006/relationships/slideLayout" Target="../slideLayouts/slideLayout720.xml"/><Relationship Id="rId21" Type="http://schemas.openxmlformats.org/officeDocument/2006/relationships/slideLayout" Target="../slideLayouts/slideLayout442.xml"/><Relationship Id="rId63" Type="http://schemas.openxmlformats.org/officeDocument/2006/relationships/slideLayout" Target="../slideLayouts/slideLayout484.xml"/><Relationship Id="rId159" Type="http://schemas.openxmlformats.org/officeDocument/2006/relationships/slideLayout" Target="../slideLayouts/slideLayout580.xml"/><Relationship Id="rId324" Type="http://schemas.openxmlformats.org/officeDocument/2006/relationships/slideLayout" Target="../slideLayouts/slideLayout745.xml"/><Relationship Id="rId366" Type="http://schemas.openxmlformats.org/officeDocument/2006/relationships/slideLayout" Target="../slideLayouts/slideLayout787.xml"/><Relationship Id="rId170" Type="http://schemas.openxmlformats.org/officeDocument/2006/relationships/slideLayout" Target="../slideLayouts/slideLayout591.xml"/><Relationship Id="rId226" Type="http://schemas.openxmlformats.org/officeDocument/2006/relationships/slideLayout" Target="../slideLayouts/slideLayout647.xml"/><Relationship Id="rId433" Type="http://schemas.openxmlformats.org/officeDocument/2006/relationships/slideLayout" Target="../slideLayouts/slideLayout854.xml"/><Relationship Id="rId268" Type="http://schemas.openxmlformats.org/officeDocument/2006/relationships/slideLayout" Target="../slideLayouts/slideLayout689.xml"/><Relationship Id="rId475" Type="http://schemas.openxmlformats.org/officeDocument/2006/relationships/slideLayout" Target="../slideLayouts/slideLayout896.xml"/><Relationship Id="rId32" Type="http://schemas.openxmlformats.org/officeDocument/2006/relationships/slideLayout" Target="../slideLayouts/slideLayout453.xml"/><Relationship Id="rId74" Type="http://schemas.openxmlformats.org/officeDocument/2006/relationships/slideLayout" Target="../slideLayouts/slideLayout495.xml"/><Relationship Id="rId128" Type="http://schemas.openxmlformats.org/officeDocument/2006/relationships/slideLayout" Target="../slideLayouts/slideLayout549.xml"/><Relationship Id="rId335" Type="http://schemas.openxmlformats.org/officeDocument/2006/relationships/slideLayout" Target="../slideLayouts/slideLayout756.xml"/><Relationship Id="rId377" Type="http://schemas.openxmlformats.org/officeDocument/2006/relationships/slideLayout" Target="../slideLayouts/slideLayout798.xml"/><Relationship Id="rId500" Type="http://schemas.openxmlformats.org/officeDocument/2006/relationships/slideLayout" Target="../slideLayouts/slideLayout921.xml"/><Relationship Id="rId5" Type="http://schemas.openxmlformats.org/officeDocument/2006/relationships/slideLayout" Target="../slideLayouts/slideLayout426.xml"/><Relationship Id="rId181" Type="http://schemas.openxmlformats.org/officeDocument/2006/relationships/slideLayout" Target="../slideLayouts/slideLayout602.xml"/><Relationship Id="rId237" Type="http://schemas.openxmlformats.org/officeDocument/2006/relationships/slideLayout" Target="../slideLayouts/slideLayout658.xml"/><Relationship Id="rId402" Type="http://schemas.openxmlformats.org/officeDocument/2006/relationships/slideLayout" Target="../slideLayouts/slideLayout823.xml"/><Relationship Id="rId279" Type="http://schemas.openxmlformats.org/officeDocument/2006/relationships/slideLayout" Target="../slideLayouts/slideLayout700.xml"/><Relationship Id="rId444" Type="http://schemas.openxmlformats.org/officeDocument/2006/relationships/slideLayout" Target="../slideLayouts/slideLayout865.xml"/><Relationship Id="rId486" Type="http://schemas.openxmlformats.org/officeDocument/2006/relationships/slideLayout" Target="../slideLayouts/slideLayout907.xml"/><Relationship Id="rId43" Type="http://schemas.openxmlformats.org/officeDocument/2006/relationships/slideLayout" Target="../slideLayouts/slideLayout464.xml"/><Relationship Id="rId139" Type="http://schemas.openxmlformats.org/officeDocument/2006/relationships/slideLayout" Target="../slideLayouts/slideLayout560.xml"/><Relationship Id="rId290" Type="http://schemas.openxmlformats.org/officeDocument/2006/relationships/slideLayout" Target="../slideLayouts/slideLayout711.xml"/><Relationship Id="rId304" Type="http://schemas.openxmlformats.org/officeDocument/2006/relationships/slideLayout" Target="../slideLayouts/slideLayout725.xml"/><Relationship Id="rId346" Type="http://schemas.openxmlformats.org/officeDocument/2006/relationships/slideLayout" Target="../slideLayouts/slideLayout767.xml"/><Relationship Id="rId388" Type="http://schemas.openxmlformats.org/officeDocument/2006/relationships/slideLayout" Target="../slideLayouts/slideLayout809.xml"/><Relationship Id="rId85" Type="http://schemas.openxmlformats.org/officeDocument/2006/relationships/slideLayout" Target="../slideLayouts/slideLayout506.xml"/><Relationship Id="rId150" Type="http://schemas.openxmlformats.org/officeDocument/2006/relationships/slideLayout" Target="../slideLayouts/slideLayout571.xml"/><Relationship Id="rId192" Type="http://schemas.openxmlformats.org/officeDocument/2006/relationships/slideLayout" Target="../slideLayouts/slideLayout613.xml"/><Relationship Id="rId206" Type="http://schemas.openxmlformats.org/officeDocument/2006/relationships/slideLayout" Target="../slideLayouts/slideLayout627.xml"/><Relationship Id="rId413" Type="http://schemas.openxmlformats.org/officeDocument/2006/relationships/slideLayout" Target="../slideLayouts/slideLayout834.xml"/><Relationship Id="rId248" Type="http://schemas.openxmlformats.org/officeDocument/2006/relationships/slideLayout" Target="../slideLayouts/slideLayout669.xml"/><Relationship Id="rId455" Type="http://schemas.openxmlformats.org/officeDocument/2006/relationships/slideLayout" Target="../slideLayouts/slideLayout876.xml"/><Relationship Id="rId497" Type="http://schemas.openxmlformats.org/officeDocument/2006/relationships/slideLayout" Target="../slideLayouts/slideLayout918.xml"/><Relationship Id="rId12" Type="http://schemas.openxmlformats.org/officeDocument/2006/relationships/slideLayout" Target="../slideLayouts/slideLayout433.xml"/><Relationship Id="rId108" Type="http://schemas.openxmlformats.org/officeDocument/2006/relationships/slideLayout" Target="../slideLayouts/slideLayout529.xml"/><Relationship Id="rId315" Type="http://schemas.openxmlformats.org/officeDocument/2006/relationships/slideLayout" Target="../slideLayouts/slideLayout736.xml"/><Relationship Id="rId357" Type="http://schemas.openxmlformats.org/officeDocument/2006/relationships/slideLayout" Target="../slideLayouts/slideLayout778.xml"/><Relationship Id="rId54" Type="http://schemas.openxmlformats.org/officeDocument/2006/relationships/slideLayout" Target="../slideLayouts/slideLayout475.xml"/><Relationship Id="rId96" Type="http://schemas.openxmlformats.org/officeDocument/2006/relationships/slideLayout" Target="../slideLayouts/slideLayout517.xml"/><Relationship Id="rId161" Type="http://schemas.openxmlformats.org/officeDocument/2006/relationships/slideLayout" Target="../slideLayouts/slideLayout582.xml"/><Relationship Id="rId217" Type="http://schemas.openxmlformats.org/officeDocument/2006/relationships/slideLayout" Target="../slideLayouts/slideLayout638.xml"/><Relationship Id="rId399" Type="http://schemas.openxmlformats.org/officeDocument/2006/relationships/slideLayout" Target="../slideLayouts/slideLayout820.xml"/><Relationship Id="rId259" Type="http://schemas.openxmlformats.org/officeDocument/2006/relationships/slideLayout" Target="../slideLayouts/slideLayout680.xml"/><Relationship Id="rId424" Type="http://schemas.openxmlformats.org/officeDocument/2006/relationships/slideLayout" Target="../slideLayouts/slideLayout845.xml"/><Relationship Id="rId466" Type="http://schemas.openxmlformats.org/officeDocument/2006/relationships/slideLayout" Target="../slideLayouts/slideLayout887.xml"/><Relationship Id="rId23" Type="http://schemas.openxmlformats.org/officeDocument/2006/relationships/slideLayout" Target="../slideLayouts/slideLayout444.xml"/><Relationship Id="rId119" Type="http://schemas.openxmlformats.org/officeDocument/2006/relationships/slideLayout" Target="../slideLayouts/slideLayout540.xml"/><Relationship Id="rId270" Type="http://schemas.openxmlformats.org/officeDocument/2006/relationships/slideLayout" Target="../slideLayouts/slideLayout691.xml"/><Relationship Id="rId326" Type="http://schemas.openxmlformats.org/officeDocument/2006/relationships/slideLayout" Target="../slideLayouts/slideLayout747.xml"/><Relationship Id="rId65" Type="http://schemas.openxmlformats.org/officeDocument/2006/relationships/slideLayout" Target="../slideLayouts/slideLayout486.xml"/><Relationship Id="rId130" Type="http://schemas.openxmlformats.org/officeDocument/2006/relationships/slideLayout" Target="../slideLayouts/slideLayout551.xml"/><Relationship Id="rId368" Type="http://schemas.openxmlformats.org/officeDocument/2006/relationships/slideLayout" Target="../slideLayouts/slideLayout789.xml"/><Relationship Id="rId172" Type="http://schemas.openxmlformats.org/officeDocument/2006/relationships/slideLayout" Target="../slideLayouts/slideLayout593.xml"/><Relationship Id="rId228" Type="http://schemas.openxmlformats.org/officeDocument/2006/relationships/slideLayout" Target="../slideLayouts/slideLayout649.xml"/><Relationship Id="rId435" Type="http://schemas.openxmlformats.org/officeDocument/2006/relationships/slideLayout" Target="../slideLayouts/slideLayout856.xml"/><Relationship Id="rId477" Type="http://schemas.openxmlformats.org/officeDocument/2006/relationships/slideLayout" Target="../slideLayouts/slideLayout898.xml"/><Relationship Id="rId281" Type="http://schemas.openxmlformats.org/officeDocument/2006/relationships/slideLayout" Target="../slideLayouts/slideLayout702.xml"/><Relationship Id="rId337" Type="http://schemas.openxmlformats.org/officeDocument/2006/relationships/slideLayout" Target="../slideLayouts/slideLayout758.xml"/><Relationship Id="rId502" Type="http://schemas.openxmlformats.org/officeDocument/2006/relationships/slideLayout" Target="../slideLayouts/slideLayout923.xml"/><Relationship Id="rId34" Type="http://schemas.openxmlformats.org/officeDocument/2006/relationships/slideLayout" Target="../slideLayouts/slideLayout455.xml"/><Relationship Id="rId76" Type="http://schemas.openxmlformats.org/officeDocument/2006/relationships/slideLayout" Target="../slideLayouts/slideLayout497.xml"/><Relationship Id="rId141" Type="http://schemas.openxmlformats.org/officeDocument/2006/relationships/slideLayout" Target="../slideLayouts/slideLayout562.xml"/><Relationship Id="rId379" Type="http://schemas.openxmlformats.org/officeDocument/2006/relationships/slideLayout" Target="../slideLayouts/slideLayout800.xml"/><Relationship Id="rId7" Type="http://schemas.openxmlformats.org/officeDocument/2006/relationships/slideLayout" Target="../slideLayouts/slideLayout428.xml"/><Relationship Id="rId183" Type="http://schemas.openxmlformats.org/officeDocument/2006/relationships/slideLayout" Target="../slideLayouts/slideLayout604.xml"/><Relationship Id="rId239" Type="http://schemas.openxmlformats.org/officeDocument/2006/relationships/slideLayout" Target="../slideLayouts/slideLayout660.xml"/><Relationship Id="rId390" Type="http://schemas.openxmlformats.org/officeDocument/2006/relationships/slideLayout" Target="../slideLayouts/slideLayout811.xml"/><Relationship Id="rId404" Type="http://schemas.openxmlformats.org/officeDocument/2006/relationships/slideLayout" Target="../slideLayouts/slideLayout825.xml"/><Relationship Id="rId446" Type="http://schemas.openxmlformats.org/officeDocument/2006/relationships/slideLayout" Target="../slideLayouts/slideLayout867.xml"/><Relationship Id="rId250" Type="http://schemas.openxmlformats.org/officeDocument/2006/relationships/slideLayout" Target="../slideLayouts/slideLayout671.xml"/><Relationship Id="rId292" Type="http://schemas.openxmlformats.org/officeDocument/2006/relationships/slideLayout" Target="../slideLayouts/slideLayout713.xml"/><Relationship Id="rId306" Type="http://schemas.openxmlformats.org/officeDocument/2006/relationships/slideLayout" Target="../slideLayouts/slideLayout727.xml"/><Relationship Id="rId488" Type="http://schemas.openxmlformats.org/officeDocument/2006/relationships/slideLayout" Target="../slideLayouts/slideLayout909.xml"/><Relationship Id="rId45" Type="http://schemas.openxmlformats.org/officeDocument/2006/relationships/slideLayout" Target="../slideLayouts/slideLayout466.xml"/><Relationship Id="rId87" Type="http://schemas.openxmlformats.org/officeDocument/2006/relationships/slideLayout" Target="../slideLayouts/slideLayout508.xml"/><Relationship Id="rId110" Type="http://schemas.openxmlformats.org/officeDocument/2006/relationships/slideLayout" Target="../slideLayouts/slideLayout531.xml"/><Relationship Id="rId348" Type="http://schemas.openxmlformats.org/officeDocument/2006/relationships/slideLayout" Target="../slideLayouts/slideLayout769.xml"/><Relationship Id="rId152" Type="http://schemas.openxmlformats.org/officeDocument/2006/relationships/slideLayout" Target="../slideLayouts/slideLayout573.xml"/><Relationship Id="rId194" Type="http://schemas.openxmlformats.org/officeDocument/2006/relationships/slideLayout" Target="../slideLayouts/slideLayout615.xml"/><Relationship Id="rId208" Type="http://schemas.openxmlformats.org/officeDocument/2006/relationships/slideLayout" Target="../slideLayouts/slideLayout629.xml"/><Relationship Id="rId415" Type="http://schemas.openxmlformats.org/officeDocument/2006/relationships/slideLayout" Target="../slideLayouts/slideLayout836.xml"/><Relationship Id="rId457" Type="http://schemas.openxmlformats.org/officeDocument/2006/relationships/slideLayout" Target="../slideLayouts/slideLayout878.xml"/><Relationship Id="rId261" Type="http://schemas.openxmlformats.org/officeDocument/2006/relationships/slideLayout" Target="../slideLayouts/slideLayout682.xml"/><Relationship Id="rId499" Type="http://schemas.openxmlformats.org/officeDocument/2006/relationships/slideLayout" Target="../slideLayouts/slideLayout920.xml"/><Relationship Id="rId14" Type="http://schemas.openxmlformats.org/officeDocument/2006/relationships/slideLayout" Target="../slideLayouts/slideLayout435.xml"/><Relationship Id="rId56" Type="http://schemas.openxmlformats.org/officeDocument/2006/relationships/slideLayout" Target="../slideLayouts/slideLayout477.xml"/><Relationship Id="rId317" Type="http://schemas.openxmlformats.org/officeDocument/2006/relationships/slideLayout" Target="../slideLayouts/slideLayout738.xml"/><Relationship Id="rId359" Type="http://schemas.openxmlformats.org/officeDocument/2006/relationships/slideLayout" Target="../slideLayouts/slideLayout780.xml"/><Relationship Id="rId98" Type="http://schemas.openxmlformats.org/officeDocument/2006/relationships/slideLayout" Target="../slideLayouts/slideLayout519.xml"/><Relationship Id="rId121" Type="http://schemas.openxmlformats.org/officeDocument/2006/relationships/slideLayout" Target="../slideLayouts/slideLayout542.xml"/><Relationship Id="rId163" Type="http://schemas.openxmlformats.org/officeDocument/2006/relationships/slideLayout" Target="../slideLayouts/slideLayout584.xml"/><Relationship Id="rId219" Type="http://schemas.openxmlformats.org/officeDocument/2006/relationships/slideLayout" Target="../slideLayouts/slideLayout640.xml"/><Relationship Id="rId370" Type="http://schemas.openxmlformats.org/officeDocument/2006/relationships/slideLayout" Target="../slideLayouts/slideLayout791.xml"/><Relationship Id="rId426" Type="http://schemas.openxmlformats.org/officeDocument/2006/relationships/slideLayout" Target="../slideLayouts/slideLayout847.xml"/><Relationship Id="rId230" Type="http://schemas.openxmlformats.org/officeDocument/2006/relationships/slideLayout" Target="../slideLayouts/slideLayout651.xml"/><Relationship Id="rId468" Type="http://schemas.openxmlformats.org/officeDocument/2006/relationships/slideLayout" Target="../slideLayouts/slideLayout889.xml"/><Relationship Id="rId25" Type="http://schemas.openxmlformats.org/officeDocument/2006/relationships/slideLayout" Target="../slideLayouts/slideLayout446.xml"/><Relationship Id="rId67" Type="http://schemas.openxmlformats.org/officeDocument/2006/relationships/slideLayout" Target="../slideLayouts/slideLayout488.xml"/><Relationship Id="rId272" Type="http://schemas.openxmlformats.org/officeDocument/2006/relationships/slideLayout" Target="../slideLayouts/slideLayout693.xml"/><Relationship Id="rId328" Type="http://schemas.openxmlformats.org/officeDocument/2006/relationships/slideLayout" Target="../slideLayouts/slideLayout749.xml"/><Relationship Id="rId132" Type="http://schemas.openxmlformats.org/officeDocument/2006/relationships/slideLayout" Target="../slideLayouts/slideLayout553.xml"/><Relationship Id="rId174" Type="http://schemas.openxmlformats.org/officeDocument/2006/relationships/slideLayout" Target="../slideLayouts/slideLayout595.xml"/><Relationship Id="rId381" Type="http://schemas.openxmlformats.org/officeDocument/2006/relationships/slideLayout" Target="../slideLayouts/slideLayout802.xml"/><Relationship Id="rId241" Type="http://schemas.openxmlformats.org/officeDocument/2006/relationships/slideLayout" Target="../slideLayouts/slideLayout662.xml"/><Relationship Id="rId437" Type="http://schemas.openxmlformats.org/officeDocument/2006/relationships/slideLayout" Target="../slideLayouts/slideLayout858.xml"/><Relationship Id="rId479" Type="http://schemas.openxmlformats.org/officeDocument/2006/relationships/slideLayout" Target="../slideLayouts/slideLayout900.xml"/><Relationship Id="rId36" Type="http://schemas.openxmlformats.org/officeDocument/2006/relationships/slideLayout" Target="../slideLayouts/slideLayout457.xml"/><Relationship Id="rId283" Type="http://schemas.openxmlformats.org/officeDocument/2006/relationships/slideLayout" Target="../slideLayouts/slideLayout704.xml"/><Relationship Id="rId339" Type="http://schemas.openxmlformats.org/officeDocument/2006/relationships/slideLayout" Target="../slideLayouts/slideLayout760.xml"/><Relationship Id="rId490" Type="http://schemas.openxmlformats.org/officeDocument/2006/relationships/slideLayout" Target="../slideLayouts/slideLayout911.xml"/><Relationship Id="rId504" Type="http://schemas.openxmlformats.org/officeDocument/2006/relationships/slideLayout" Target="../slideLayouts/slideLayout925.xml"/><Relationship Id="rId78" Type="http://schemas.openxmlformats.org/officeDocument/2006/relationships/slideLayout" Target="../slideLayouts/slideLayout499.xml"/><Relationship Id="rId101" Type="http://schemas.openxmlformats.org/officeDocument/2006/relationships/slideLayout" Target="../slideLayouts/slideLayout522.xml"/><Relationship Id="rId143" Type="http://schemas.openxmlformats.org/officeDocument/2006/relationships/slideLayout" Target="../slideLayouts/slideLayout564.xml"/><Relationship Id="rId185" Type="http://schemas.openxmlformats.org/officeDocument/2006/relationships/slideLayout" Target="../slideLayouts/slideLayout606.xml"/><Relationship Id="rId350" Type="http://schemas.openxmlformats.org/officeDocument/2006/relationships/slideLayout" Target="../slideLayouts/slideLayout771.xml"/><Relationship Id="rId406" Type="http://schemas.openxmlformats.org/officeDocument/2006/relationships/slideLayout" Target="../slideLayouts/slideLayout827.xml"/><Relationship Id="rId9" Type="http://schemas.openxmlformats.org/officeDocument/2006/relationships/slideLayout" Target="../slideLayouts/slideLayout430.xml"/><Relationship Id="rId210" Type="http://schemas.openxmlformats.org/officeDocument/2006/relationships/slideLayout" Target="../slideLayouts/slideLayout631.xml"/><Relationship Id="rId392" Type="http://schemas.openxmlformats.org/officeDocument/2006/relationships/slideLayout" Target="../slideLayouts/slideLayout813.xml"/><Relationship Id="rId448" Type="http://schemas.openxmlformats.org/officeDocument/2006/relationships/slideLayout" Target="../slideLayouts/slideLayout869.xml"/><Relationship Id="rId252" Type="http://schemas.openxmlformats.org/officeDocument/2006/relationships/slideLayout" Target="../slideLayouts/slideLayout673.xml"/><Relationship Id="rId294" Type="http://schemas.openxmlformats.org/officeDocument/2006/relationships/slideLayout" Target="../slideLayouts/slideLayout715.xml"/><Relationship Id="rId308" Type="http://schemas.openxmlformats.org/officeDocument/2006/relationships/slideLayout" Target="../slideLayouts/slideLayout729.xml"/><Relationship Id="rId47" Type="http://schemas.openxmlformats.org/officeDocument/2006/relationships/slideLayout" Target="../slideLayouts/slideLayout468.xml"/><Relationship Id="rId89" Type="http://schemas.openxmlformats.org/officeDocument/2006/relationships/slideLayout" Target="../slideLayouts/slideLayout510.xml"/><Relationship Id="rId112" Type="http://schemas.openxmlformats.org/officeDocument/2006/relationships/slideLayout" Target="../slideLayouts/slideLayout533.xml"/><Relationship Id="rId154" Type="http://schemas.openxmlformats.org/officeDocument/2006/relationships/slideLayout" Target="../slideLayouts/slideLayout575.xml"/><Relationship Id="rId361" Type="http://schemas.openxmlformats.org/officeDocument/2006/relationships/slideLayout" Target="../slideLayouts/slideLayout782.xml"/><Relationship Id="rId196" Type="http://schemas.openxmlformats.org/officeDocument/2006/relationships/slideLayout" Target="../slideLayouts/slideLayout617.xml"/><Relationship Id="rId417" Type="http://schemas.openxmlformats.org/officeDocument/2006/relationships/slideLayout" Target="../slideLayouts/slideLayout838.xml"/><Relationship Id="rId459" Type="http://schemas.openxmlformats.org/officeDocument/2006/relationships/slideLayout" Target="../slideLayouts/slideLayout880.xml"/><Relationship Id="rId16" Type="http://schemas.openxmlformats.org/officeDocument/2006/relationships/slideLayout" Target="../slideLayouts/slideLayout437.xml"/><Relationship Id="rId221" Type="http://schemas.openxmlformats.org/officeDocument/2006/relationships/slideLayout" Target="../slideLayouts/slideLayout642.xml"/><Relationship Id="rId263" Type="http://schemas.openxmlformats.org/officeDocument/2006/relationships/slideLayout" Target="../slideLayouts/slideLayout684.xml"/><Relationship Id="rId319" Type="http://schemas.openxmlformats.org/officeDocument/2006/relationships/slideLayout" Target="../slideLayouts/slideLayout740.xml"/><Relationship Id="rId470" Type="http://schemas.openxmlformats.org/officeDocument/2006/relationships/slideLayout" Target="../slideLayouts/slideLayout891.xml"/><Relationship Id="rId58" Type="http://schemas.openxmlformats.org/officeDocument/2006/relationships/slideLayout" Target="../slideLayouts/slideLayout479.xml"/><Relationship Id="rId123" Type="http://schemas.openxmlformats.org/officeDocument/2006/relationships/slideLayout" Target="../slideLayouts/slideLayout544.xml"/><Relationship Id="rId330" Type="http://schemas.openxmlformats.org/officeDocument/2006/relationships/slideLayout" Target="../slideLayouts/slideLayout751.xml"/><Relationship Id="rId165" Type="http://schemas.openxmlformats.org/officeDocument/2006/relationships/slideLayout" Target="../slideLayouts/slideLayout586.xml"/><Relationship Id="rId372" Type="http://schemas.openxmlformats.org/officeDocument/2006/relationships/slideLayout" Target="../slideLayouts/slideLayout793.xml"/><Relationship Id="rId428" Type="http://schemas.openxmlformats.org/officeDocument/2006/relationships/slideLayout" Target="../slideLayouts/slideLayout849.xml"/><Relationship Id="rId232" Type="http://schemas.openxmlformats.org/officeDocument/2006/relationships/slideLayout" Target="../slideLayouts/slideLayout653.xml"/><Relationship Id="rId274" Type="http://schemas.openxmlformats.org/officeDocument/2006/relationships/slideLayout" Target="../slideLayouts/slideLayout695.xml"/><Relationship Id="rId481" Type="http://schemas.openxmlformats.org/officeDocument/2006/relationships/slideLayout" Target="../slideLayouts/slideLayout902.xml"/><Relationship Id="rId27" Type="http://schemas.openxmlformats.org/officeDocument/2006/relationships/slideLayout" Target="../slideLayouts/slideLayout448.xml"/><Relationship Id="rId69" Type="http://schemas.openxmlformats.org/officeDocument/2006/relationships/slideLayout" Target="../slideLayouts/slideLayout490.xml"/><Relationship Id="rId134" Type="http://schemas.openxmlformats.org/officeDocument/2006/relationships/slideLayout" Target="../slideLayouts/slideLayout555.xml"/><Relationship Id="rId80" Type="http://schemas.openxmlformats.org/officeDocument/2006/relationships/slideLayout" Target="../slideLayouts/slideLayout501.xml"/><Relationship Id="rId176" Type="http://schemas.openxmlformats.org/officeDocument/2006/relationships/slideLayout" Target="../slideLayouts/slideLayout597.xml"/><Relationship Id="rId341" Type="http://schemas.openxmlformats.org/officeDocument/2006/relationships/slideLayout" Target="../slideLayouts/slideLayout762.xml"/><Relationship Id="rId383" Type="http://schemas.openxmlformats.org/officeDocument/2006/relationships/slideLayout" Target="../slideLayouts/slideLayout804.xml"/><Relationship Id="rId439" Type="http://schemas.openxmlformats.org/officeDocument/2006/relationships/slideLayout" Target="../slideLayouts/slideLayout860.xml"/><Relationship Id="rId201" Type="http://schemas.openxmlformats.org/officeDocument/2006/relationships/slideLayout" Target="../slideLayouts/slideLayout622.xml"/><Relationship Id="rId243" Type="http://schemas.openxmlformats.org/officeDocument/2006/relationships/slideLayout" Target="../slideLayouts/slideLayout664.xml"/><Relationship Id="rId285" Type="http://schemas.openxmlformats.org/officeDocument/2006/relationships/slideLayout" Target="../slideLayouts/slideLayout706.xml"/><Relationship Id="rId450" Type="http://schemas.openxmlformats.org/officeDocument/2006/relationships/slideLayout" Target="../slideLayouts/slideLayout871.xml"/><Relationship Id="rId506" Type="http://schemas.openxmlformats.org/officeDocument/2006/relationships/slideLayout" Target="../slideLayouts/slideLayout927.xml"/><Relationship Id="rId38" Type="http://schemas.openxmlformats.org/officeDocument/2006/relationships/slideLayout" Target="../slideLayouts/slideLayout459.xml"/><Relationship Id="rId103" Type="http://schemas.openxmlformats.org/officeDocument/2006/relationships/slideLayout" Target="../slideLayouts/slideLayout524.xml"/><Relationship Id="rId310" Type="http://schemas.openxmlformats.org/officeDocument/2006/relationships/slideLayout" Target="../slideLayouts/slideLayout731.xml"/><Relationship Id="rId492" Type="http://schemas.openxmlformats.org/officeDocument/2006/relationships/slideLayout" Target="../slideLayouts/slideLayout913.xml"/><Relationship Id="rId91" Type="http://schemas.openxmlformats.org/officeDocument/2006/relationships/slideLayout" Target="../slideLayouts/slideLayout512.xml"/><Relationship Id="rId145" Type="http://schemas.openxmlformats.org/officeDocument/2006/relationships/slideLayout" Target="../slideLayouts/slideLayout566.xml"/><Relationship Id="rId187" Type="http://schemas.openxmlformats.org/officeDocument/2006/relationships/slideLayout" Target="../slideLayouts/slideLayout608.xml"/><Relationship Id="rId352" Type="http://schemas.openxmlformats.org/officeDocument/2006/relationships/slideLayout" Target="../slideLayouts/slideLayout773.xml"/><Relationship Id="rId394" Type="http://schemas.openxmlformats.org/officeDocument/2006/relationships/slideLayout" Target="../slideLayouts/slideLayout815.xml"/><Relationship Id="rId408" Type="http://schemas.openxmlformats.org/officeDocument/2006/relationships/slideLayout" Target="../slideLayouts/slideLayout829.xml"/><Relationship Id="rId212" Type="http://schemas.openxmlformats.org/officeDocument/2006/relationships/slideLayout" Target="../slideLayouts/slideLayout633.xml"/><Relationship Id="rId254" Type="http://schemas.openxmlformats.org/officeDocument/2006/relationships/slideLayout" Target="../slideLayouts/slideLayout675.xml"/><Relationship Id="rId49" Type="http://schemas.openxmlformats.org/officeDocument/2006/relationships/slideLayout" Target="../slideLayouts/slideLayout470.xml"/><Relationship Id="rId114" Type="http://schemas.openxmlformats.org/officeDocument/2006/relationships/slideLayout" Target="../slideLayouts/slideLayout535.xml"/><Relationship Id="rId296" Type="http://schemas.openxmlformats.org/officeDocument/2006/relationships/slideLayout" Target="../slideLayouts/slideLayout717.xml"/><Relationship Id="rId461" Type="http://schemas.openxmlformats.org/officeDocument/2006/relationships/slideLayout" Target="../slideLayouts/slideLayout882.xml"/><Relationship Id="rId60" Type="http://schemas.openxmlformats.org/officeDocument/2006/relationships/slideLayout" Target="../slideLayouts/slideLayout481.xml"/><Relationship Id="rId156" Type="http://schemas.openxmlformats.org/officeDocument/2006/relationships/slideLayout" Target="../slideLayouts/slideLayout577.xml"/><Relationship Id="rId198" Type="http://schemas.openxmlformats.org/officeDocument/2006/relationships/slideLayout" Target="../slideLayouts/slideLayout619.xml"/><Relationship Id="rId321" Type="http://schemas.openxmlformats.org/officeDocument/2006/relationships/slideLayout" Target="../slideLayouts/slideLayout742.xml"/><Relationship Id="rId363" Type="http://schemas.openxmlformats.org/officeDocument/2006/relationships/slideLayout" Target="../slideLayouts/slideLayout784.xml"/><Relationship Id="rId419" Type="http://schemas.openxmlformats.org/officeDocument/2006/relationships/slideLayout" Target="../slideLayouts/slideLayout840.xml"/><Relationship Id="rId223" Type="http://schemas.openxmlformats.org/officeDocument/2006/relationships/slideLayout" Target="../slideLayouts/slideLayout644.xml"/><Relationship Id="rId430" Type="http://schemas.openxmlformats.org/officeDocument/2006/relationships/slideLayout" Target="../slideLayouts/slideLayout851.xml"/><Relationship Id="rId18" Type="http://schemas.openxmlformats.org/officeDocument/2006/relationships/slideLayout" Target="../slideLayouts/slideLayout439.xml"/><Relationship Id="rId265" Type="http://schemas.openxmlformats.org/officeDocument/2006/relationships/slideLayout" Target="../slideLayouts/slideLayout686.xml"/><Relationship Id="rId472" Type="http://schemas.openxmlformats.org/officeDocument/2006/relationships/slideLayout" Target="../slideLayouts/slideLayout893.xml"/><Relationship Id="rId125" Type="http://schemas.openxmlformats.org/officeDocument/2006/relationships/slideLayout" Target="../slideLayouts/slideLayout546.xml"/><Relationship Id="rId167" Type="http://schemas.openxmlformats.org/officeDocument/2006/relationships/slideLayout" Target="../slideLayouts/slideLayout588.xml"/><Relationship Id="rId332" Type="http://schemas.openxmlformats.org/officeDocument/2006/relationships/slideLayout" Target="../slideLayouts/slideLayout753.xml"/><Relationship Id="rId374" Type="http://schemas.openxmlformats.org/officeDocument/2006/relationships/slideLayout" Target="../slideLayouts/slideLayout795.xml"/><Relationship Id="rId71" Type="http://schemas.openxmlformats.org/officeDocument/2006/relationships/slideLayout" Target="../slideLayouts/slideLayout492.xml"/><Relationship Id="rId234" Type="http://schemas.openxmlformats.org/officeDocument/2006/relationships/slideLayout" Target="../slideLayouts/slideLayout655.xml"/><Relationship Id="rId2" Type="http://schemas.openxmlformats.org/officeDocument/2006/relationships/slideLayout" Target="../slideLayouts/slideLayout423.xml"/><Relationship Id="rId29" Type="http://schemas.openxmlformats.org/officeDocument/2006/relationships/slideLayout" Target="../slideLayouts/slideLayout450.xml"/><Relationship Id="rId276" Type="http://schemas.openxmlformats.org/officeDocument/2006/relationships/slideLayout" Target="../slideLayouts/slideLayout697.xml"/><Relationship Id="rId441" Type="http://schemas.openxmlformats.org/officeDocument/2006/relationships/slideLayout" Target="../slideLayouts/slideLayout862.xml"/><Relationship Id="rId483" Type="http://schemas.openxmlformats.org/officeDocument/2006/relationships/slideLayout" Target="../slideLayouts/slideLayout904.xml"/><Relationship Id="rId40" Type="http://schemas.openxmlformats.org/officeDocument/2006/relationships/slideLayout" Target="../slideLayouts/slideLayout461.xml"/><Relationship Id="rId136" Type="http://schemas.openxmlformats.org/officeDocument/2006/relationships/slideLayout" Target="../slideLayouts/slideLayout557.xml"/><Relationship Id="rId178" Type="http://schemas.openxmlformats.org/officeDocument/2006/relationships/slideLayout" Target="../slideLayouts/slideLayout599.xml"/><Relationship Id="rId301" Type="http://schemas.openxmlformats.org/officeDocument/2006/relationships/slideLayout" Target="../slideLayouts/slideLayout722.xml"/><Relationship Id="rId343" Type="http://schemas.openxmlformats.org/officeDocument/2006/relationships/slideLayout" Target="../slideLayouts/slideLayout764.xml"/><Relationship Id="rId82" Type="http://schemas.openxmlformats.org/officeDocument/2006/relationships/slideLayout" Target="../slideLayouts/slideLayout503.xml"/><Relationship Id="rId203" Type="http://schemas.openxmlformats.org/officeDocument/2006/relationships/slideLayout" Target="../slideLayouts/slideLayout624.xml"/><Relationship Id="rId385" Type="http://schemas.openxmlformats.org/officeDocument/2006/relationships/slideLayout" Target="../slideLayouts/slideLayout806.xml"/><Relationship Id="rId245" Type="http://schemas.openxmlformats.org/officeDocument/2006/relationships/slideLayout" Target="../slideLayouts/slideLayout666.xml"/><Relationship Id="rId287" Type="http://schemas.openxmlformats.org/officeDocument/2006/relationships/slideLayout" Target="../slideLayouts/slideLayout708.xml"/><Relationship Id="rId410" Type="http://schemas.openxmlformats.org/officeDocument/2006/relationships/slideLayout" Target="../slideLayouts/slideLayout831.xml"/><Relationship Id="rId452" Type="http://schemas.openxmlformats.org/officeDocument/2006/relationships/slideLayout" Target="../slideLayouts/slideLayout873.xml"/><Relationship Id="rId494" Type="http://schemas.openxmlformats.org/officeDocument/2006/relationships/slideLayout" Target="../slideLayouts/slideLayout915.xml"/><Relationship Id="rId105" Type="http://schemas.openxmlformats.org/officeDocument/2006/relationships/slideLayout" Target="../slideLayouts/slideLayout526.xml"/><Relationship Id="rId147" Type="http://schemas.openxmlformats.org/officeDocument/2006/relationships/slideLayout" Target="../slideLayouts/slideLayout568.xml"/><Relationship Id="rId312" Type="http://schemas.openxmlformats.org/officeDocument/2006/relationships/slideLayout" Target="../slideLayouts/slideLayout733.xml"/><Relationship Id="rId354" Type="http://schemas.openxmlformats.org/officeDocument/2006/relationships/slideLayout" Target="../slideLayouts/slideLayout775.xml"/><Relationship Id="rId51" Type="http://schemas.openxmlformats.org/officeDocument/2006/relationships/slideLayout" Target="../slideLayouts/slideLayout472.xml"/><Relationship Id="rId93" Type="http://schemas.openxmlformats.org/officeDocument/2006/relationships/slideLayout" Target="../slideLayouts/slideLayout514.xml"/><Relationship Id="rId189" Type="http://schemas.openxmlformats.org/officeDocument/2006/relationships/slideLayout" Target="../slideLayouts/slideLayout610.xml"/><Relationship Id="rId396" Type="http://schemas.openxmlformats.org/officeDocument/2006/relationships/slideLayout" Target="../slideLayouts/slideLayout817.xml"/><Relationship Id="rId214" Type="http://schemas.openxmlformats.org/officeDocument/2006/relationships/slideLayout" Target="../slideLayouts/slideLayout635.xml"/><Relationship Id="rId256" Type="http://schemas.openxmlformats.org/officeDocument/2006/relationships/slideLayout" Target="../slideLayouts/slideLayout677.xml"/><Relationship Id="rId298" Type="http://schemas.openxmlformats.org/officeDocument/2006/relationships/slideLayout" Target="../slideLayouts/slideLayout719.xml"/><Relationship Id="rId421" Type="http://schemas.openxmlformats.org/officeDocument/2006/relationships/slideLayout" Target="../slideLayouts/slideLayout842.xml"/><Relationship Id="rId463" Type="http://schemas.openxmlformats.org/officeDocument/2006/relationships/slideLayout" Target="../slideLayouts/slideLayout884.xml"/><Relationship Id="rId116" Type="http://schemas.openxmlformats.org/officeDocument/2006/relationships/slideLayout" Target="../slideLayouts/slideLayout537.xml"/><Relationship Id="rId158" Type="http://schemas.openxmlformats.org/officeDocument/2006/relationships/slideLayout" Target="../slideLayouts/slideLayout579.xml"/><Relationship Id="rId323" Type="http://schemas.openxmlformats.org/officeDocument/2006/relationships/slideLayout" Target="../slideLayouts/slideLayout744.xml"/><Relationship Id="rId20" Type="http://schemas.openxmlformats.org/officeDocument/2006/relationships/slideLayout" Target="../slideLayouts/slideLayout441.xml"/><Relationship Id="rId62" Type="http://schemas.openxmlformats.org/officeDocument/2006/relationships/slideLayout" Target="../slideLayouts/slideLayout483.xml"/><Relationship Id="rId365" Type="http://schemas.openxmlformats.org/officeDocument/2006/relationships/slideLayout" Target="../slideLayouts/slideLayout786.xml"/><Relationship Id="rId225" Type="http://schemas.openxmlformats.org/officeDocument/2006/relationships/slideLayout" Target="../slideLayouts/slideLayout646.xml"/><Relationship Id="rId267" Type="http://schemas.openxmlformats.org/officeDocument/2006/relationships/slideLayout" Target="../slideLayouts/slideLayout688.xml"/><Relationship Id="rId432" Type="http://schemas.openxmlformats.org/officeDocument/2006/relationships/slideLayout" Target="../slideLayouts/slideLayout853.xml"/><Relationship Id="rId474" Type="http://schemas.openxmlformats.org/officeDocument/2006/relationships/slideLayout" Target="../slideLayouts/slideLayout895.xml"/><Relationship Id="rId127" Type="http://schemas.openxmlformats.org/officeDocument/2006/relationships/slideLayout" Target="../slideLayouts/slideLayout548.xml"/><Relationship Id="rId31" Type="http://schemas.openxmlformats.org/officeDocument/2006/relationships/slideLayout" Target="../slideLayouts/slideLayout452.xml"/><Relationship Id="rId73" Type="http://schemas.openxmlformats.org/officeDocument/2006/relationships/slideLayout" Target="../slideLayouts/slideLayout494.xml"/><Relationship Id="rId169" Type="http://schemas.openxmlformats.org/officeDocument/2006/relationships/slideLayout" Target="../slideLayouts/slideLayout590.xml"/><Relationship Id="rId334" Type="http://schemas.openxmlformats.org/officeDocument/2006/relationships/slideLayout" Target="../slideLayouts/slideLayout755.xml"/><Relationship Id="rId376" Type="http://schemas.openxmlformats.org/officeDocument/2006/relationships/slideLayout" Target="../slideLayouts/slideLayout797.xml"/><Relationship Id="rId4" Type="http://schemas.openxmlformats.org/officeDocument/2006/relationships/slideLayout" Target="../slideLayouts/slideLayout425.xml"/><Relationship Id="rId180" Type="http://schemas.openxmlformats.org/officeDocument/2006/relationships/slideLayout" Target="../slideLayouts/slideLayout601.xml"/><Relationship Id="rId215" Type="http://schemas.openxmlformats.org/officeDocument/2006/relationships/slideLayout" Target="../slideLayouts/slideLayout636.xml"/><Relationship Id="rId236" Type="http://schemas.openxmlformats.org/officeDocument/2006/relationships/slideLayout" Target="../slideLayouts/slideLayout657.xml"/><Relationship Id="rId257" Type="http://schemas.openxmlformats.org/officeDocument/2006/relationships/slideLayout" Target="../slideLayouts/slideLayout678.xml"/><Relationship Id="rId278" Type="http://schemas.openxmlformats.org/officeDocument/2006/relationships/slideLayout" Target="../slideLayouts/slideLayout699.xml"/><Relationship Id="rId401" Type="http://schemas.openxmlformats.org/officeDocument/2006/relationships/slideLayout" Target="../slideLayouts/slideLayout822.xml"/><Relationship Id="rId422" Type="http://schemas.openxmlformats.org/officeDocument/2006/relationships/slideLayout" Target="../slideLayouts/slideLayout843.xml"/><Relationship Id="rId443" Type="http://schemas.openxmlformats.org/officeDocument/2006/relationships/slideLayout" Target="../slideLayouts/slideLayout864.xml"/><Relationship Id="rId464" Type="http://schemas.openxmlformats.org/officeDocument/2006/relationships/slideLayout" Target="../slideLayouts/slideLayout885.xml"/><Relationship Id="rId303" Type="http://schemas.openxmlformats.org/officeDocument/2006/relationships/slideLayout" Target="../slideLayouts/slideLayout724.xml"/><Relationship Id="rId485" Type="http://schemas.openxmlformats.org/officeDocument/2006/relationships/slideLayout" Target="../slideLayouts/slideLayout906.xml"/><Relationship Id="rId42" Type="http://schemas.openxmlformats.org/officeDocument/2006/relationships/slideLayout" Target="../slideLayouts/slideLayout463.xml"/><Relationship Id="rId84" Type="http://schemas.openxmlformats.org/officeDocument/2006/relationships/slideLayout" Target="../slideLayouts/slideLayout505.xml"/><Relationship Id="rId138" Type="http://schemas.openxmlformats.org/officeDocument/2006/relationships/slideLayout" Target="../slideLayouts/slideLayout559.xml"/><Relationship Id="rId345" Type="http://schemas.openxmlformats.org/officeDocument/2006/relationships/slideLayout" Target="../slideLayouts/slideLayout766.xml"/><Relationship Id="rId387" Type="http://schemas.openxmlformats.org/officeDocument/2006/relationships/slideLayout" Target="../slideLayouts/slideLayout808.xml"/><Relationship Id="rId191" Type="http://schemas.openxmlformats.org/officeDocument/2006/relationships/slideLayout" Target="../slideLayouts/slideLayout612.xml"/><Relationship Id="rId205" Type="http://schemas.openxmlformats.org/officeDocument/2006/relationships/slideLayout" Target="../slideLayouts/slideLayout626.xml"/><Relationship Id="rId247" Type="http://schemas.openxmlformats.org/officeDocument/2006/relationships/slideLayout" Target="../slideLayouts/slideLayout668.xml"/><Relationship Id="rId412" Type="http://schemas.openxmlformats.org/officeDocument/2006/relationships/slideLayout" Target="../slideLayouts/slideLayout833.xml"/><Relationship Id="rId107" Type="http://schemas.openxmlformats.org/officeDocument/2006/relationships/slideLayout" Target="../slideLayouts/slideLayout528.xml"/><Relationship Id="rId289" Type="http://schemas.openxmlformats.org/officeDocument/2006/relationships/slideLayout" Target="../slideLayouts/slideLayout710.xml"/><Relationship Id="rId454" Type="http://schemas.openxmlformats.org/officeDocument/2006/relationships/slideLayout" Target="../slideLayouts/slideLayout875.xml"/><Relationship Id="rId496" Type="http://schemas.openxmlformats.org/officeDocument/2006/relationships/slideLayout" Target="../slideLayouts/slideLayout917.xml"/><Relationship Id="rId11" Type="http://schemas.openxmlformats.org/officeDocument/2006/relationships/slideLayout" Target="../slideLayouts/slideLayout432.xml"/><Relationship Id="rId53" Type="http://schemas.openxmlformats.org/officeDocument/2006/relationships/slideLayout" Target="../slideLayouts/slideLayout474.xml"/><Relationship Id="rId149" Type="http://schemas.openxmlformats.org/officeDocument/2006/relationships/slideLayout" Target="../slideLayouts/slideLayout570.xml"/><Relationship Id="rId314" Type="http://schemas.openxmlformats.org/officeDocument/2006/relationships/slideLayout" Target="../slideLayouts/slideLayout735.xml"/><Relationship Id="rId356" Type="http://schemas.openxmlformats.org/officeDocument/2006/relationships/slideLayout" Target="../slideLayouts/slideLayout777.xml"/><Relationship Id="rId398" Type="http://schemas.openxmlformats.org/officeDocument/2006/relationships/slideLayout" Target="../slideLayouts/slideLayout819.xml"/><Relationship Id="rId95" Type="http://schemas.openxmlformats.org/officeDocument/2006/relationships/slideLayout" Target="../slideLayouts/slideLayout516.xml"/><Relationship Id="rId160" Type="http://schemas.openxmlformats.org/officeDocument/2006/relationships/slideLayout" Target="../slideLayouts/slideLayout581.xml"/><Relationship Id="rId216" Type="http://schemas.openxmlformats.org/officeDocument/2006/relationships/slideLayout" Target="../slideLayouts/slideLayout637.xml"/><Relationship Id="rId423" Type="http://schemas.openxmlformats.org/officeDocument/2006/relationships/slideLayout" Target="../slideLayouts/slideLayout844.xml"/><Relationship Id="rId258" Type="http://schemas.openxmlformats.org/officeDocument/2006/relationships/slideLayout" Target="../slideLayouts/slideLayout679.xml"/><Relationship Id="rId465" Type="http://schemas.openxmlformats.org/officeDocument/2006/relationships/slideLayout" Target="../slideLayouts/slideLayout886.xml"/><Relationship Id="rId22" Type="http://schemas.openxmlformats.org/officeDocument/2006/relationships/slideLayout" Target="../slideLayouts/slideLayout443.xml"/><Relationship Id="rId64" Type="http://schemas.openxmlformats.org/officeDocument/2006/relationships/slideLayout" Target="../slideLayouts/slideLayout485.xml"/><Relationship Id="rId118" Type="http://schemas.openxmlformats.org/officeDocument/2006/relationships/slideLayout" Target="../slideLayouts/slideLayout539.xml"/><Relationship Id="rId325" Type="http://schemas.openxmlformats.org/officeDocument/2006/relationships/slideLayout" Target="../slideLayouts/slideLayout746.xml"/><Relationship Id="rId367" Type="http://schemas.openxmlformats.org/officeDocument/2006/relationships/slideLayout" Target="../slideLayouts/slideLayout788.xml"/><Relationship Id="rId171" Type="http://schemas.openxmlformats.org/officeDocument/2006/relationships/slideLayout" Target="../slideLayouts/slideLayout592.xml"/><Relationship Id="rId227" Type="http://schemas.openxmlformats.org/officeDocument/2006/relationships/slideLayout" Target="../slideLayouts/slideLayout648.xml"/><Relationship Id="rId269" Type="http://schemas.openxmlformats.org/officeDocument/2006/relationships/slideLayout" Target="../slideLayouts/slideLayout690.xml"/><Relationship Id="rId434" Type="http://schemas.openxmlformats.org/officeDocument/2006/relationships/slideLayout" Target="../slideLayouts/slideLayout855.xml"/><Relationship Id="rId476" Type="http://schemas.openxmlformats.org/officeDocument/2006/relationships/slideLayout" Target="../slideLayouts/slideLayout897.xml"/><Relationship Id="rId33" Type="http://schemas.openxmlformats.org/officeDocument/2006/relationships/slideLayout" Target="../slideLayouts/slideLayout454.xml"/><Relationship Id="rId129" Type="http://schemas.openxmlformats.org/officeDocument/2006/relationships/slideLayout" Target="../slideLayouts/slideLayout550.xml"/><Relationship Id="rId280" Type="http://schemas.openxmlformats.org/officeDocument/2006/relationships/slideLayout" Target="../slideLayouts/slideLayout701.xml"/><Relationship Id="rId336" Type="http://schemas.openxmlformats.org/officeDocument/2006/relationships/slideLayout" Target="../slideLayouts/slideLayout757.xml"/><Relationship Id="rId501" Type="http://schemas.openxmlformats.org/officeDocument/2006/relationships/slideLayout" Target="../slideLayouts/slideLayout922.xml"/><Relationship Id="rId75" Type="http://schemas.openxmlformats.org/officeDocument/2006/relationships/slideLayout" Target="../slideLayouts/slideLayout496.xml"/><Relationship Id="rId140" Type="http://schemas.openxmlformats.org/officeDocument/2006/relationships/slideLayout" Target="../slideLayouts/slideLayout561.xml"/><Relationship Id="rId182" Type="http://schemas.openxmlformats.org/officeDocument/2006/relationships/slideLayout" Target="../slideLayouts/slideLayout603.xml"/><Relationship Id="rId378" Type="http://schemas.openxmlformats.org/officeDocument/2006/relationships/slideLayout" Target="../slideLayouts/slideLayout799.xml"/><Relationship Id="rId403" Type="http://schemas.openxmlformats.org/officeDocument/2006/relationships/slideLayout" Target="../slideLayouts/slideLayout824.xml"/><Relationship Id="rId6" Type="http://schemas.openxmlformats.org/officeDocument/2006/relationships/slideLayout" Target="../slideLayouts/slideLayout427.xml"/><Relationship Id="rId238" Type="http://schemas.openxmlformats.org/officeDocument/2006/relationships/slideLayout" Target="../slideLayouts/slideLayout659.xml"/><Relationship Id="rId445" Type="http://schemas.openxmlformats.org/officeDocument/2006/relationships/slideLayout" Target="../slideLayouts/slideLayout866.xml"/><Relationship Id="rId487" Type="http://schemas.openxmlformats.org/officeDocument/2006/relationships/slideLayout" Target="../slideLayouts/slideLayout908.xml"/><Relationship Id="rId291" Type="http://schemas.openxmlformats.org/officeDocument/2006/relationships/slideLayout" Target="../slideLayouts/slideLayout712.xml"/><Relationship Id="rId305" Type="http://schemas.openxmlformats.org/officeDocument/2006/relationships/slideLayout" Target="../slideLayouts/slideLayout726.xml"/><Relationship Id="rId347" Type="http://schemas.openxmlformats.org/officeDocument/2006/relationships/slideLayout" Target="../slideLayouts/slideLayout768.xml"/><Relationship Id="rId44" Type="http://schemas.openxmlformats.org/officeDocument/2006/relationships/slideLayout" Target="../slideLayouts/slideLayout465.xml"/><Relationship Id="rId86" Type="http://schemas.openxmlformats.org/officeDocument/2006/relationships/slideLayout" Target="../slideLayouts/slideLayout507.xml"/><Relationship Id="rId151" Type="http://schemas.openxmlformats.org/officeDocument/2006/relationships/slideLayout" Target="../slideLayouts/slideLayout572.xml"/><Relationship Id="rId389" Type="http://schemas.openxmlformats.org/officeDocument/2006/relationships/slideLayout" Target="../slideLayouts/slideLayout810.xml"/><Relationship Id="rId193" Type="http://schemas.openxmlformats.org/officeDocument/2006/relationships/slideLayout" Target="../slideLayouts/slideLayout614.xml"/><Relationship Id="rId207" Type="http://schemas.openxmlformats.org/officeDocument/2006/relationships/slideLayout" Target="../slideLayouts/slideLayout628.xml"/><Relationship Id="rId249" Type="http://schemas.openxmlformats.org/officeDocument/2006/relationships/slideLayout" Target="../slideLayouts/slideLayout670.xml"/><Relationship Id="rId414" Type="http://schemas.openxmlformats.org/officeDocument/2006/relationships/slideLayout" Target="../slideLayouts/slideLayout835.xml"/><Relationship Id="rId456" Type="http://schemas.openxmlformats.org/officeDocument/2006/relationships/slideLayout" Target="../slideLayouts/slideLayout877.xml"/><Relationship Id="rId498" Type="http://schemas.openxmlformats.org/officeDocument/2006/relationships/slideLayout" Target="../slideLayouts/slideLayout919.xml"/><Relationship Id="rId13" Type="http://schemas.openxmlformats.org/officeDocument/2006/relationships/slideLayout" Target="../slideLayouts/slideLayout434.xml"/><Relationship Id="rId109" Type="http://schemas.openxmlformats.org/officeDocument/2006/relationships/slideLayout" Target="../slideLayouts/slideLayout530.xml"/><Relationship Id="rId260" Type="http://schemas.openxmlformats.org/officeDocument/2006/relationships/slideLayout" Target="../slideLayouts/slideLayout681.xml"/><Relationship Id="rId316" Type="http://schemas.openxmlformats.org/officeDocument/2006/relationships/slideLayout" Target="../slideLayouts/slideLayout737.xml"/><Relationship Id="rId55" Type="http://schemas.openxmlformats.org/officeDocument/2006/relationships/slideLayout" Target="../slideLayouts/slideLayout476.xml"/><Relationship Id="rId97" Type="http://schemas.openxmlformats.org/officeDocument/2006/relationships/slideLayout" Target="../slideLayouts/slideLayout518.xml"/><Relationship Id="rId120" Type="http://schemas.openxmlformats.org/officeDocument/2006/relationships/slideLayout" Target="../slideLayouts/slideLayout541.xml"/><Relationship Id="rId358" Type="http://schemas.openxmlformats.org/officeDocument/2006/relationships/slideLayout" Target="../slideLayouts/slideLayout779.xml"/><Relationship Id="rId162" Type="http://schemas.openxmlformats.org/officeDocument/2006/relationships/slideLayout" Target="../slideLayouts/slideLayout583.xml"/><Relationship Id="rId218" Type="http://schemas.openxmlformats.org/officeDocument/2006/relationships/slideLayout" Target="../slideLayouts/slideLayout639.xml"/><Relationship Id="rId425" Type="http://schemas.openxmlformats.org/officeDocument/2006/relationships/slideLayout" Target="../slideLayouts/slideLayout846.xml"/><Relationship Id="rId467" Type="http://schemas.openxmlformats.org/officeDocument/2006/relationships/slideLayout" Target="../slideLayouts/slideLayout888.xml"/><Relationship Id="rId271" Type="http://schemas.openxmlformats.org/officeDocument/2006/relationships/slideLayout" Target="../slideLayouts/slideLayout692.xml"/><Relationship Id="rId24" Type="http://schemas.openxmlformats.org/officeDocument/2006/relationships/slideLayout" Target="../slideLayouts/slideLayout445.xml"/><Relationship Id="rId66" Type="http://schemas.openxmlformats.org/officeDocument/2006/relationships/slideLayout" Target="../slideLayouts/slideLayout487.xml"/><Relationship Id="rId131" Type="http://schemas.openxmlformats.org/officeDocument/2006/relationships/slideLayout" Target="../slideLayouts/slideLayout552.xml"/><Relationship Id="rId327" Type="http://schemas.openxmlformats.org/officeDocument/2006/relationships/slideLayout" Target="../slideLayouts/slideLayout748.xml"/><Relationship Id="rId369" Type="http://schemas.openxmlformats.org/officeDocument/2006/relationships/slideLayout" Target="../slideLayouts/slideLayout790.xml"/><Relationship Id="rId173" Type="http://schemas.openxmlformats.org/officeDocument/2006/relationships/slideLayout" Target="../slideLayouts/slideLayout594.xml"/><Relationship Id="rId229" Type="http://schemas.openxmlformats.org/officeDocument/2006/relationships/slideLayout" Target="../slideLayouts/slideLayout650.xml"/><Relationship Id="rId380" Type="http://schemas.openxmlformats.org/officeDocument/2006/relationships/slideLayout" Target="../slideLayouts/slideLayout801.xml"/><Relationship Id="rId436" Type="http://schemas.openxmlformats.org/officeDocument/2006/relationships/slideLayout" Target="../slideLayouts/slideLayout857.xml"/><Relationship Id="rId240" Type="http://schemas.openxmlformats.org/officeDocument/2006/relationships/slideLayout" Target="../slideLayouts/slideLayout661.xml"/><Relationship Id="rId478" Type="http://schemas.openxmlformats.org/officeDocument/2006/relationships/slideLayout" Target="../slideLayouts/slideLayout899.xml"/><Relationship Id="rId35" Type="http://schemas.openxmlformats.org/officeDocument/2006/relationships/slideLayout" Target="../slideLayouts/slideLayout456.xml"/><Relationship Id="rId77" Type="http://schemas.openxmlformats.org/officeDocument/2006/relationships/slideLayout" Target="../slideLayouts/slideLayout498.xml"/><Relationship Id="rId100" Type="http://schemas.openxmlformats.org/officeDocument/2006/relationships/slideLayout" Target="../slideLayouts/slideLayout521.xml"/><Relationship Id="rId282" Type="http://schemas.openxmlformats.org/officeDocument/2006/relationships/slideLayout" Target="../slideLayouts/slideLayout703.xml"/><Relationship Id="rId338" Type="http://schemas.openxmlformats.org/officeDocument/2006/relationships/slideLayout" Target="../slideLayouts/slideLayout759.xml"/><Relationship Id="rId503" Type="http://schemas.openxmlformats.org/officeDocument/2006/relationships/slideLayout" Target="../slideLayouts/slideLayout924.xml"/><Relationship Id="rId8" Type="http://schemas.openxmlformats.org/officeDocument/2006/relationships/slideLayout" Target="../slideLayouts/slideLayout429.xml"/><Relationship Id="rId142" Type="http://schemas.openxmlformats.org/officeDocument/2006/relationships/slideLayout" Target="../slideLayouts/slideLayout563.xml"/><Relationship Id="rId184" Type="http://schemas.openxmlformats.org/officeDocument/2006/relationships/slideLayout" Target="../slideLayouts/slideLayout605.xml"/><Relationship Id="rId391" Type="http://schemas.openxmlformats.org/officeDocument/2006/relationships/slideLayout" Target="../slideLayouts/slideLayout812.xml"/><Relationship Id="rId405" Type="http://schemas.openxmlformats.org/officeDocument/2006/relationships/slideLayout" Target="../slideLayouts/slideLayout826.xml"/><Relationship Id="rId447" Type="http://schemas.openxmlformats.org/officeDocument/2006/relationships/slideLayout" Target="../slideLayouts/slideLayout868.xml"/><Relationship Id="rId251" Type="http://schemas.openxmlformats.org/officeDocument/2006/relationships/slideLayout" Target="../slideLayouts/slideLayout672.xml"/><Relationship Id="rId489" Type="http://schemas.openxmlformats.org/officeDocument/2006/relationships/slideLayout" Target="../slideLayouts/slideLayout910.xml"/><Relationship Id="rId46" Type="http://schemas.openxmlformats.org/officeDocument/2006/relationships/slideLayout" Target="../slideLayouts/slideLayout467.xml"/><Relationship Id="rId293" Type="http://schemas.openxmlformats.org/officeDocument/2006/relationships/slideLayout" Target="../slideLayouts/slideLayout714.xml"/><Relationship Id="rId307" Type="http://schemas.openxmlformats.org/officeDocument/2006/relationships/slideLayout" Target="../slideLayouts/slideLayout728.xml"/><Relationship Id="rId349" Type="http://schemas.openxmlformats.org/officeDocument/2006/relationships/slideLayout" Target="../slideLayouts/slideLayout770.xml"/><Relationship Id="rId88" Type="http://schemas.openxmlformats.org/officeDocument/2006/relationships/slideLayout" Target="../slideLayouts/slideLayout509.xml"/><Relationship Id="rId111" Type="http://schemas.openxmlformats.org/officeDocument/2006/relationships/slideLayout" Target="../slideLayouts/slideLayout532.xml"/><Relationship Id="rId153" Type="http://schemas.openxmlformats.org/officeDocument/2006/relationships/slideLayout" Target="../slideLayouts/slideLayout574.xml"/><Relationship Id="rId195" Type="http://schemas.openxmlformats.org/officeDocument/2006/relationships/slideLayout" Target="../slideLayouts/slideLayout616.xml"/><Relationship Id="rId209" Type="http://schemas.openxmlformats.org/officeDocument/2006/relationships/slideLayout" Target="../slideLayouts/slideLayout630.xml"/><Relationship Id="rId360" Type="http://schemas.openxmlformats.org/officeDocument/2006/relationships/slideLayout" Target="../slideLayouts/slideLayout781.xml"/><Relationship Id="rId416" Type="http://schemas.openxmlformats.org/officeDocument/2006/relationships/slideLayout" Target="../slideLayouts/slideLayout837.xml"/><Relationship Id="rId220" Type="http://schemas.openxmlformats.org/officeDocument/2006/relationships/slideLayout" Target="../slideLayouts/slideLayout641.xml"/><Relationship Id="rId458" Type="http://schemas.openxmlformats.org/officeDocument/2006/relationships/slideLayout" Target="../slideLayouts/slideLayout879.xml"/><Relationship Id="rId15" Type="http://schemas.openxmlformats.org/officeDocument/2006/relationships/slideLayout" Target="../slideLayouts/slideLayout436.xml"/><Relationship Id="rId57" Type="http://schemas.openxmlformats.org/officeDocument/2006/relationships/slideLayout" Target="../slideLayouts/slideLayout478.xml"/><Relationship Id="rId262" Type="http://schemas.openxmlformats.org/officeDocument/2006/relationships/slideLayout" Target="../slideLayouts/slideLayout683.xml"/><Relationship Id="rId318" Type="http://schemas.openxmlformats.org/officeDocument/2006/relationships/slideLayout" Target="../slideLayouts/slideLayout739.xml"/><Relationship Id="rId99" Type="http://schemas.openxmlformats.org/officeDocument/2006/relationships/slideLayout" Target="../slideLayouts/slideLayout520.xml"/><Relationship Id="rId122" Type="http://schemas.openxmlformats.org/officeDocument/2006/relationships/slideLayout" Target="../slideLayouts/slideLayout543.xml"/><Relationship Id="rId164" Type="http://schemas.openxmlformats.org/officeDocument/2006/relationships/slideLayout" Target="../slideLayouts/slideLayout585.xml"/><Relationship Id="rId371" Type="http://schemas.openxmlformats.org/officeDocument/2006/relationships/slideLayout" Target="../slideLayouts/slideLayout792.xml"/><Relationship Id="rId427" Type="http://schemas.openxmlformats.org/officeDocument/2006/relationships/slideLayout" Target="../slideLayouts/slideLayout848.xml"/><Relationship Id="rId469" Type="http://schemas.openxmlformats.org/officeDocument/2006/relationships/slideLayout" Target="../slideLayouts/slideLayout890.xml"/><Relationship Id="rId26" Type="http://schemas.openxmlformats.org/officeDocument/2006/relationships/slideLayout" Target="../slideLayouts/slideLayout447.xml"/><Relationship Id="rId231" Type="http://schemas.openxmlformats.org/officeDocument/2006/relationships/slideLayout" Target="../slideLayouts/slideLayout652.xml"/><Relationship Id="rId273" Type="http://schemas.openxmlformats.org/officeDocument/2006/relationships/slideLayout" Target="../slideLayouts/slideLayout694.xml"/><Relationship Id="rId329" Type="http://schemas.openxmlformats.org/officeDocument/2006/relationships/slideLayout" Target="../slideLayouts/slideLayout750.xml"/><Relationship Id="rId480" Type="http://schemas.openxmlformats.org/officeDocument/2006/relationships/slideLayout" Target="../slideLayouts/slideLayout901.xml"/><Relationship Id="rId68" Type="http://schemas.openxmlformats.org/officeDocument/2006/relationships/slideLayout" Target="../slideLayouts/slideLayout489.xml"/><Relationship Id="rId133" Type="http://schemas.openxmlformats.org/officeDocument/2006/relationships/slideLayout" Target="../slideLayouts/slideLayout554.xml"/><Relationship Id="rId175" Type="http://schemas.openxmlformats.org/officeDocument/2006/relationships/slideLayout" Target="../slideLayouts/slideLayout596.xml"/><Relationship Id="rId340" Type="http://schemas.openxmlformats.org/officeDocument/2006/relationships/slideLayout" Target="../slideLayouts/slideLayout761.xml"/><Relationship Id="rId200" Type="http://schemas.openxmlformats.org/officeDocument/2006/relationships/slideLayout" Target="../slideLayouts/slideLayout621.xml"/><Relationship Id="rId382" Type="http://schemas.openxmlformats.org/officeDocument/2006/relationships/slideLayout" Target="../slideLayouts/slideLayout803.xml"/><Relationship Id="rId438" Type="http://schemas.openxmlformats.org/officeDocument/2006/relationships/slideLayout" Target="../slideLayouts/slideLayout859.xml"/><Relationship Id="rId242" Type="http://schemas.openxmlformats.org/officeDocument/2006/relationships/slideLayout" Target="../slideLayouts/slideLayout663.xml"/><Relationship Id="rId284" Type="http://schemas.openxmlformats.org/officeDocument/2006/relationships/slideLayout" Target="../slideLayouts/slideLayout705.xml"/><Relationship Id="rId491" Type="http://schemas.openxmlformats.org/officeDocument/2006/relationships/slideLayout" Target="../slideLayouts/slideLayout912.xml"/><Relationship Id="rId505" Type="http://schemas.openxmlformats.org/officeDocument/2006/relationships/slideLayout" Target="../slideLayouts/slideLayout926.xml"/><Relationship Id="rId37" Type="http://schemas.openxmlformats.org/officeDocument/2006/relationships/slideLayout" Target="../slideLayouts/slideLayout458.xml"/><Relationship Id="rId79" Type="http://schemas.openxmlformats.org/officeDocument/2006/relationships/slideLayout" Target="../slideLayouts/slideLayout500.xml"/><Relationship Id="rId102" Type="http://schemas.openxmlformats.org/officeDocument/2006/relationships/slideLayout" Target="../slideLayouts/slideLayout523.xml"/><Relationship Id="rId144" Type="http://schemas.openxmlformats.org/officeDocument/2006/relationships/slideLayout" Target="../slideLayouts/slideLayout565.xml"/><Relationship Id="rId90" Type="http://schemas.openxmlformats.org/officeDocument/2006/relationships/slideLayout" Target="../slideLayouts/slideLayout511.xml"/><Relationship Id="rId186" Type="http://schemas.openxmlformats.org/officeDocument/2006/relationships/slideLayout" Target="../slideLayouts/slideLayout607.xml"/><Relationship Id="rId351" Type="http://schemas.openxmlformats.org/officeDocument/2006/relationships/slideLayout" Target="../slideLayouts/slideLayout772.xml"/><Relationship Id="rId393" Type="http://schemas.openxmlformats.org/officeDocument/2006/relationships/slideLayout" Target="../slideLayouts/slideLayout814.xml"/><Relationship Id="rId407" Type="http://schemas.openxmlformats.org/officeDocument/2006/relationships/slideLayout" Target="../slideLayouts/slideLayout828.xml"/><Relationship Id="rId449" Type="http://schemas.openxmlformats.org/officeDocument/2006/relationships/slideLayout" Target="../slideLayouts/slideLayout870.xml"/><Relationship Id="rId211" Type="http://schemas.openxmlformats.org/officeDocument/2006/relationships/slideLayout" Target="../slideLayouts/slideLayout632.xml"/><Relationship Id="rId253" Type="http://schemas.openxmlformats.org/officeDocument/2006/relationships/slideLayout" Target="../slideLayouts/slideLayout674.xml"/><Relationship Id="rId295" Type="http://schemas.openxmlformats.org/officeDocument/2006/relationships/slideLayout" Target="../slideLayouts/slideLayout716.xml"/><Relationship Id="rId309" Type="http://schemas.openxmlformats.org/officeDocument/2006/relationships/slideLayout" Target="../slideLayouts/slideLayout730.xml"/><Relationship Id="rId460" Type="http://schemas.openxmlformats.org/officeDocument/2006/relationships/slideLayout" Target="../slideLayouts/slideLayout881.xml"/><Relationship Id="rId48" Type="http://schemas.openxmlformats.org/officeDocument/2006/relationships/slideLayout" Target="../slideLayouts/slideLayout469.xml"/><Relationship Id="rId113" Type="http://schemas.openxmlformats.org/officeDocument/2006/relationships/slideLayout" Target="../slideLayouts/slideLayout534.xml"/><Relationship Id="rId320" Type="http://schemas.openxmlformats.org/officeDocument/2006/relationships/slideLayout" Target="../slideLayouts/slideLayout741.xml"/><Relationship Id="rId155" Type="http://schemas.openxmlformats.org/officeDocument/2006/relationships/slideLayout" Target="../slideLayouts/slideLayout576.xml"/><Relationship Id="rId197" Type="http://schemas.openxmlformats.org/officeDocument/2006/relationships/slideLayout" Target="../slideLayouts/slideLayout618.xml"/><Relationship Id="rId362" Type="http://schemas.openxmlformats.org/officeDocument/2006/relationships/slideLayout" Target="../slideLayouts/slideLayout783.xml"/><Relationship Id="rId418" Type="http://schemas.openxmlformats.org/officeDocument/2006/relationships/slideLayout" Target="../slideLayouts/slideLayout839.xml"/><Relationship Id="rId222" Type="http://schemas.openxmlformats.org/officeDocument/2006/relationships/slideLayout" Target="../slideLayouts/slideLayout643.xml"/><Relationship Id="rId264" Type="http://schemas.openxmlformats.org/officeDocument/2006/relationships/slideLayout" Target="../slideLayouts/slideLayout685.xml"/><Relationship Id="rId471" Type="http://schemas.openxmlformats.org/officeDocument/2006/relationships/slideLayout" Target="../slideLayouts/slideLayout892.xml"/><Relationship Id="rId17" Type="http://schemas.openxmlformats.org/officeDocument/2006/relationships/slideLayout" Target="../slideLayouts/slideLayout438.xml"/><Relationship Id="rId59" Type="http://schemas.openxmlformats.org/officeDocument/2006/relationships/slideLayout" Target="../slideLayouts/slideLayout480.xml"/><Relationship Id="rId124" Type="http://schemas.openxmlformats.org/officeDocument/2006/relationships/slideLayout" Target="../slideLayouts/slideLayout545.xml"/><Relationship Id="rId70" Type="http://schemas.openxmlformats.org/officeDocument/2006/relationships/slideLayout" Target="../slideLayouts/slideLayout491.xml"/><Relationship Id="rId166" Type="http://schemas.openxmlformats.org/officeDocument/2006/relationships/slideLayout" Target="../slideLayouts/slideLayout587.xml"/><Relationship Id="rId331" Type="http://schemas.openxmlformats.org/officeDocument/2006/relationships/slideLayout" Target="../slideLayouts/slideLayout752.xml"/><Relationship Id="rId373" Type="http://schemas.openxmlformats.org/officeDocument/2006/relationships/slideLayout" Target="../slideLayouts/slideLayout794.xml"/><Relationship Id="rId429" Type="http://schemas.openxmlformats.org/officeDocument/2006/relationships/slideLayout" Target="../slideLayouts/slideLayout850.xml"/><Relationship Id="rId1" Type="http://schemas.openxmlformats.org/officeDocument/2006/relationships/slideLayout" Target="../slideLayouts/slideLayout422.xml"/><Relationship Id="rId233" Type="http://schemas.openxmlformats.org/officeDocument/2006/relationships/slideLayout" Target="../slideLayouts/slideLayout654.xml"/><Relationship Id="rId440" Type="http://schemas.openxmlformats.org/officeDocument/2006/relationships/slideLayout" Target="../slideLayouts/slideLayout861.xml"/><Relationship Id="rId28" Type="http://schemas.openxmlformats.org/officeDocument/2006/relationships/slideLayout" Target="../slideLayouts/slideLayout449.xml"/><Relationship Id="rId275" Type="http://schemas.openxmlformats.org/officeDocument/2006/relationships/slideLayout" Target="../slideLayouts/slideLayout696.xml"/><Relationship Id="rId300" Type="http://schemas.openxmlformats.org/officeDocument/2006/relationships/slideLayout" Target="../slideLayouts/slideLayout721.xml"/><Relationship Id="rId482" Type="http://schemas.openxmlformats.org/officeDocument/2006/relationships/slideLayout" Target="../slideLayouts/slideLayout903.xml"/><Relationship Id="rId81" Type="http://schemas.openxmlformats.org/officeDocument/2006/relationships/slideLayout" Target="../slideLayouts/slideLayout502.xml"/><Relationship Id="rId135" Type="http://schemas.openxmlformats.org/officeDocument/2006/relationships/slideLayout" Target="../slideLayouts/slideLayout556.xml"/><Relationship Id="rId177" Type="http://schemas.openxmlformats.org/officeDocument/2006/relationships/slideLayout" Target="../slideLayouts/slideLayout598.xml"/><Relationship Id="rId342" Type="http://schemas.openxmlformats.org/officeDocument/2006/relationships/slideLayout" Target="../slideLayouts/slideLayout763.xml"/><Relationship Id="rId384" Type="http://schemas.openxmlformats.org/officeDocument/2006/relationships/slideLayout" Target="../slideLayouts/slideLayout805.xml"/><Relationship Id="rId202" Type="http://schemas.openxmlformats.org/officeDocument/2006/relationships/slideLayout" Target="../slideLayouts/slideLayout623.xml"/><Relationship Id="rId244" Type="http://schemas.openxmlformats.org/officeDocument/2006/relationships/slideLayout" Target="../slideLayouts/slideLayout665.xml"/><Relationship Id="rId39" Type="http://schemas.openxmlformats.org/officeDocument/2006/relationships/slideLayout" Target="../slideLayouts/slideLayout460.xml"/><Relationship Id="rId286" Type="http://schemas.openxmlformats.org/officeDocument/2006/relationships/slideLayout" Target="../slideLayouts/slideLayout707.xml"/><Relationship Id="rId451" Type="http://schemas.openxmlformats.org/officeDocument/2006/relationships/slideLayout" Target="../slideLayouts/slideLayout872.xml"/><Relationship Id="rId493" Type="http://schemas.openxmlformats.org/officeDocument/2006/relationships/slideLayout" Target="../slideLayouts/slideLayout914.xml"/><Relationship Id="rId507" Type="http://schemas.openxmlformats.org/officeDocument/2006/relationships/theme" Target="../theme/theme3.xml"/><Relationship Id="rId50" Type="http://schemas.openxmlformats.org/officeDocument/2006/relationships/slideLayout" Target="../slideLayouts/slideLayout471.xml"/><Relationship Id="rId104" Type="http://schemas.openxmlformats.org/officeDocument/2006/relationships/slideLayout" Target="../slideLayouts/slideLayout525.xml"/><Relationship Id="rId146" Type="http://schemas.openxmlformats.org/officeDocument/2006/relationships/slideLayout" Target="../slideLayouts/slideLayout567.xml"/><Relationship Id="rId188" Type="http://schemas.openxmlformats.org/officeDocument/2006/relationships/slideLayout" Target="../slideLayouts/slideLayout609.xml"/><Relationship Id="rId311" Type="http://schemas.openxmlformats.org/officeDocument/2006/relationships/slideLayout" Target="../slideLayouts/slideLayout732.xml"/><Relationship Id="rId353" Type="http://schemas.openxmlformats.org/officeDocument/2006/relationships/slideLayout" Target="../slideLayouts/slideLayout774.xml"/><Relationship Id="rId395" Type="http://schemas.openxmlformats.org/officeDocument/2006/relationships/slideLayout" Target="../slideLayouts/slideLayout816.xml"/><Relationship Id="rId409" Type="http://schemas.openxmlformats.org/officeDocument/2006/relationships/slideLayout" Target="../slideLayouts/slideLayout830.xml"/><Relationship Id="rId92" Type="http://schemas.openxmlformats.org/officeDocument/2006/relationships/slideLayout" Target="../slideLayouts/slideLayout513.xml"/><Relationship Id="rId213" Type="http://schemas.openxmlformats.org/officeDocument/2006/relationships/slideLayout" Target="../slideLayouts/slideLayout634.xml"/><Relationship Id="rId420" Type="http://schemas.openxmlformats.org/officeDocument/2006/relationships/slideLayout" Target="../slideLayouts/slideLayout841.xml"/><Relationship Id="rId255" Type="http://schemas.openxmlformats.org/officeDocument/2006/relationships/slideLayout" Target="../slideLayouts/slideLayout676.xml"/><Relationship Id="rId297" Type="http://schemas.openxmlformats.org/officeDocument/2006/relationships/slideLayout" Target="../slideLayouts/slideLayout718.xml"/><Relationship Id="rId462" Type="http://schemas.openxmlformats.org/officeDocument/2006/relationships/slideLayout" Target="../slideLayouts/slideLayout883.xml"/><Relationship Id="rId115" Type="http://schemas.openxmlformats.org/officeDocument/2006/relationships/slideLayout" Target="../slideLayouts/slideLayout536.xml"/><Relationship Id="rId157" Type="http://schemas.openxmlformats.org/officeDocument/2006/relationships/slideLayout" Target="../slideLayouts/slideLayout578.xml"/><Relationship Id="rId322" Type="http://schemas.openxmlformats.org/officeDocument/2006/relationships/slideLayout" Target="../slideLayouts/slideLayout743.xml"/><Relationship Id="rId364" Type="http://schemas.openxmlformats.org/officeDocument/2006/relationships/slideLayout" Target="../slideLayouts/slideLayout785.xml"/><Relationship Id="rId61" Type="http://schemas.openxmlformats.org/officeDocument/2006/relationships/slideLayout" Target="../slideLayouts/slideLayout482.xml"/><Relationship Id="rId199" Type="http://schemas.openxmlformats.org/officeDocument/2006/relationships/slideLayout" Target="../slideLayouts/slideLayout620.xml"/><Relationship Id="rId19" Type="http://schemas.openxmlformats.org/officeDocument/2006/relationships/slideLayout" Target="../slideLayouts/slideLayout440.xml"/><Relationship Id="rId224" Type="http://schemas.openxmlformats.org/officeDocument/2006/relationships/slideLayout" Target="../slideLayouts/slideLayout645.xml"/><Relationship Id="rId266" Type="http://schemas.openxmlformats.org/officeDocument/2006/relationships/slideLayout" Target="../slideLayouts/slideLayout687.xml"/><Relationship Id="rId431" Type="http://schemas.openxmlformats.org/officeDocument/2006/relationships/slideLayout" Target="../slideLayouts/slideLayout852.xml"/><Relationship Id="rId473" Type="http://schemas.openxmlformats.org/officeDocument/2006/relationships/slideLayout" Target="../slideLayouts/slideLayout894.xml"/><Relationship Id="rId30" Type="http://schemas.openxmlformats.org/officeDocument/2006/relationships/slideLayout" Target="../slideLayouts/slideLayout451.xml"/><Relationship Id="rId126" Type="http://schemas.openxmlformats.org/officeDocument/2006/relationships/slideLayout" Target="../slideLayouts/slideLayout547.xml"/><Relationship Id="rId168" Type="http://schemas.openxmlformats.org/officeDocument/2006/relationships/slideLayout" Target="../slideLayouts/slideLayout589.xml"/><Relationship Id="rId333" Type="http://schemas.openxmlformats.org/officeDocument/2006/relationships/slideLayout" Target="../slideLayouts/slideLayout754.xml"/><Relationship Id="rId72" Type="http://schemas.openxmlformats.org/officeDocument/2006/relationships/slideLayout" Target="../slideLayouts/slideLayout493.xml"/><Relationship Id="rId375" Type="http://schemas.openxmlformats.org/officeDocument/2006/relationships/slideLayout" Target="../slideLayouts/slideLayout796.xml"/><Relationship Id="rId3" Type="http://schemas.openxmlformats.org/officeDocument/2006/relationships/slideLayout" Target="../slideLayouts/slideLayout424.xml"/><Relationship Id="rId235" Type="http://schemas.openxmlformats.org/officeDocument/2006/relationships/slideLayout" Target="../slideLayouts/slideLayout656.xml"/><Relationship Id="rId277" Type="http://schemas.openxmlformats.org/officeDocument/2006/relationships/slideLayout" Target="../slideLayouts/slideLayout698.xml"/><Relationship Id="rId400" Type="http://schemas.openxmlformats.org/officeDocument/2006/relationships/slideLayout" Target="../slideLayouts/slideLayout821.xml"/><Relationship Id="rId442" Type="http://schemas.openxmlformats.org/officeDocument/2006/relationships/slideLayout" Target="../slideLayouts/slideLayout863.xml"/><Relationship Id="rId484" Type="http://schemas.openxmlformats.org/officeDocument/2006/relationships/slideLayout" Target="../slideLayouts/slideLayout905.xml"/><Relationship Id="rId137" Type="http://schemas.openxmlformats.org/officeDocument/2006/relationships/slideLayout" Target="../slideLayouts/slideLayout558.xml"/><Relationship Id="rId302" Type="http://schemas.openxmlformats.org/officeDocument/2006/relationships/slideLayout" Target="../slideLayouts/slideLayout723.xml"/><Relationship Id="rId344" Type="http://schemas.openxmlformats.org/officeDocument/2006/relationships/slideLayout" Target="../slideLayouts/slideLayout765.xml"/><Relationship Id="rId41" Type="http://schemas.openxmlformats.org/officeDocument/2006/relationships/slideLayout" Target="../slideLayouts/slideLayout462.xml"/><Relationship Id="rId83" Type="http://schemas.openxmlformats.org/officeDocument/2006/relationships/slideLayout" Target="../slideLayouts/slideLayout504.xml"/><Relationship Id="rId179" Type="http://schemas.openxmlformats.org/officeDocument/2006/relationships/slideLayout" Target="../slideLayouts/slideLayout600.xml"/><Relationship Id="rId386" Type="http://schemas.openxmlformats.org/officeDocument/2006/relationships/slideLayout" Target="../slideLayouts/slideLayout807.xml"/><Relationship Id="rId190" Type="http://schemas.openxmlformats.org/officeDocument/2006/relationships/slideLayout" Target="../slideLayouts/slideLayout611.xml"/><Relationship Id="rId204" Type="http://schemas.openxmlformats.org/officeDocument/2006/relationships/slideLayout" Target="../slideLayouts/slideLayout625.xml"/><Relationship Id="rId246" Type="http://schemas.openxmlformats.org/officeDocument/2006/relationships/slideLayout" Target="../slideLayouts/slideLayout667.xml"/><Relationship Id="rId288" Type="http://schemas.openxmlformats.org/officeDocument/2006/relationships/slideLayout" Target="../slideLayouts/slideLayout709.xml"/><Relationship Id="rId411" Type="http://schemas.openxmlformats.org/officeDocument/2006/relationships/slideLayout" Target="../slideLayouts/slideLayout832.xml"/><Relationship Id="rId453" Type="http://schemas.openxmlformats.org/officeDocument/2006/relationships/slideLayout" Target="../slideLayouts/slideLayout874.xml"/><Relationship Id="rId106" Type="http://schemas.openxmlformats.org/officeDocument/2006/relationships/slideLayout" Target="../slideLayouts/slideLayout527.xml"/><Relationship Id="rId313" Type="http://schemas.openxmlformats.org/officeDocument/2006/relationships/slideLayout" Target="../slideLayouts/slideLayout734.xml"/><Relationship Id="rId495" Type="http://schemas.openxmlformats.org/officeDocument/2006/relationships/slideLayout" Target="../slideLayouts/slideLayout916.xml"/><Relationship Id="rId10" Type="http://schemas.openxmlformats.org/officeDocument/2006/relationships/slideLayout" Target="../slideLayouts/slideLayout431.xml"/><Relationship Id="rId52" Type="http://schemas.openxmlformats.org/officeDocument/2006/relationships/slideLayout" Target="../slideLayouts/slideLayout473.xml"/><Relationship Id="rId94" Type="http://schemas.openxmlformats.org/officeDocument/2006/relationships/slideLayout" Target="../slideLayouts/slideLayout515.xml"/><Relationship Id="rId148" Type="http://schemas.openxmlformats.org/officeDocument/2006/relationships/slideLayout" Target="../slideLayouts/slideLayout569.xml"/><Relationship Id="rId355" Type="http://schemas.openxmlformats.org/officeDocument/2006/relationships/slideLayout" Target="../slideLayouts/slideLayout776.xml"/><Relationship Id="rId397" Type="http://schemas.openxmlformats.org/officeDocument/2006/relationships/slideLayout" Target="../slideLayouts/slideLayout818.xml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044.xml"/><Relationship Id="rId21" Type="http://schemas.openxmlformats.org/officeDocument/2006/relationships/slideLayout" Target="../slideLayouts/slideLayout948.xml"/><Relationship Id="rId42" Type="http://schemas.openxmlformats.org/officeDocument/2006/relationships/slideLayout" Target="../slideLayouts/slideLayout969.xml"/><Relationship Id="rId63" Type="http://schemas.openxmlformats.org/officeDocument/2006/relationships/slideLayout" Target="../slideLayouts/slideLayout990.xml"/><Relationship Id="rId84" Type="http://schemas.openxmlformats.org/officeDocument/2006/relationships/slideLayout" Target="../slideLayouts/slideLayout1011.xml"/><Relationship Id="rId138" Type="http://schemas.openxmlformats.org/officeDocument/2006/relationships/slideLayout" Target="../slideLayouts/slideLayout1065.xml"/><Relationship Id="rId107" Type="http://schemas.openxmlformats.org/officeDocument/2006/relationships/slideLayout" Target="../slideLayouts/slideLayout1034.xml"/><Relationship Id="rId11" Type="http://schemas.openxmlformats.org/officeDocument/2006/relationships/slideLayout" Target="../slideLayouts/slideLayout938.xml"/><Relationship Id="rId32" Type="http://schemas.openxmlformats.org/officeDocument/2006/relationships/slideLayout" Target="../slideLayouts/slideLayout959.xml"/><Relationship Id="rId53" Type="http://schemas.openxmlformats.org/officeDocument/2006/relationships/slideLayout" Target="../slideLayouts/slideLayout980.xml"/><Relationship Id="rId74" Type="http://schemas.openxmlformats.org/officeDocument/2006/relationships/slideLayout" Target="../slideLayouts/slideLayout1001.xml"/><Relationship Id="rId128" Type="http://schemas.openxmlformats.org/officeDocument/2006/relationships/slideLayout" Target="../slideLayouts/slideLayout1055.xml"/><Relationship Id="rId149" Type="http://schemas.openxmlformats.org/officeDocument/2006/relationships/slideLayout" Target="../slideLayouts/slideLayout1076.xml"/><Relationship Id="rId5" Type="http://schemas.openxmlformats.org/officeDocument/2006/relationships/slideLayout" Target="../slideLayouts/slideLayout932.xml"/><Relationship Id="rId95" Type="http://schemas.openxmlformats.org/officeDocument/2006/relationships/slideLayout" Target="../slideLayouts/slideLayout1022.xml"/><Relationship Id="rId22" Type="http://schemas.openxmlformats.org/officeDocument/2006/relationships/slideLayout" Target="../slideLayouts/slideLayout949.xml"/><Relationship Id="rId27" Type="http://schemas.openxmlformats.org/officeDocument/2006/relationships/slideLayout" Target="../slideLayouts/slideLayout954.xml"/><Relationship Id="rId43" Type="http://schemas.openxmlformats.org/officeDocument/2006/relationships/slideLayout" Target="../slideLayouts/slideLayout970.xml"/><Relationship Id="rId48" Type="http://schemas.openxmlformats.org/officeDocument/2006/relationships/slideLayout" Target="../slideLayouts/slideLayout975.xml"/><Relationship Id="rId64" Type="http://schemas.openxmlformats.org/officeDocument/2006/relationships/slideLayout" Target="../slideLayouts/slideLayout991.xml"/><Relationship Id="rId69" Type="http://schemas.openxmlformats.org/officeDocument/2006/relationships/slideLayout" Target="../slideLayouts/slideLayout996.xml"/><Relationship Id="rId113" Type="http://schemas.openxmlformats.org/officeDocument/2006/relationships/slideLayout" Target="../slideLayouts/slideLayout1040.xml"/><Relationship Id="rId118" Type="http://schemas.openxmlformats.org/officeDocument/2006/relationships/slideLayout" Target="../slideLayouts/slideLayout1045.xml"/><Relationship Id="rId134" Type="http://schemas.openxmlformats.org/officeDocument/2006/relationships/slideLayout" Target="../slideLayouts/slideLayout1061.xml"/><Relationship Id="rId139" Type="http://schemas.openxmlformats.org/officeDocument/2006/relationships/slideLayout" Target="../slideLayouts/slideLayout1066.xml"/><Relationship Id="rId80" Type="http://schemas.openxmlformats.org/officeDocument/2006/relationships/slideLayout" Target="../slideLayouts/slideLayout1007.xml"/><Relationship Id="rId85" Type="http://schemas.openxmlformats.org/officeDocument/2006/relationships/slideLayout" Target="../slideLayouts/slideLayout1012.xml"/><Relationship Id="rId150" Type="http://schemas.openxmlformats.org/officeDocument/2006/relationships/theme" Target="../theme/theme4.xml"/><Relationship Id="rId12" Type="http://schemas.openxmlformats.org/officeDocument/2006/relationships/slideLayout" Target="../slideLayouts/slideLayout939.xml"/><Relationship Id="rId17" Type="http://schemas.openxmlformats.org/officeDocument/2006/relationships/slideLayout" Target="../slideLayouts/slideLayout944.xml"/><Relationship Id="rId33" Type="http://schemas.openxmlformats.org/officeDocument/2006/relationships/slideLayout" Target="../slideLayouts/slideLayout960.xml"/><Relationship Id="rId38" Type="http://schemas.openxmlformats.org/officeDocument/2006/relationships/slideLayout" Target="../slideLayouts/slideLayout965.xml"/><Relationship Id="rId59" Type="http://schemas.openxmlformats.org/officeDocument/2006/relationships/slideLayout" Target="../slideLayouts/slideLayout986.xml"/><Relationship Id="rId103" Type="http://schemas.openxmlformats.org/officeDocument/2006/relationships/slideLayout" Target="../slideLayouts/slideLayout1030.xml"/><Relationship Id="rId108" Type="http://schemas.openxmlformats.org/officeDocument/2006/relationships/slideLayout" Target="../slideLayouts/slideLayout1035.xml"/><Relationship Id="rId124" Type="http://schemas.openxmlformats.org/officeDocument/2006/relationships/slideLayout" Target="../slideLayouts/slideLayout1051.xml"/><Relationship Id="rId129" Type="http://schemas.openxmlformats.org/officeDocument/2006/relationships/slideLayout" Target="../slideLayouts/slideLayout1056.xml"/><Relationship Id="rId54" Type="http://schemas.openxmlformats.org/officeDocument/2006/relationships/slideLayout" Target="../slideLayouts/slideLayout981.xml"/><Relationship Id="rId70" Type="http://schemas.openxmlformats.org/officeDocument/2006/relationships/slideLayout" Target="../slideLayouts/slideLayout997.xml"/><Relationship Id="rId75" Type="http://schemas.openxmlformats.org/officeDocument/2006/relationships/slideLayout" Target="../slideLayouts/slideLayout1002.xml"/><Relationship Id="rId91" Type="http://schemas.openxmlformats.org/officeDocument/2006/relationships/slideLayout" Target="../slideLayouts/slideLayout1018.xml"/><Relationship Id="rId96" Type="http://schemas.openxmlformats.org/officeDocument/2006/relationships/slideLayout" Target="../slideLayouts/slideLayout1023.xml"/><Relationship Id="rId140" Type="http://schemas.openxmlformats.org/officeDocument/2006/relationships/slideLayout" Target="../slideLayouts/slideLayout1067.xml"/><Relationship Id="rId145" Type="http://schemas.openxmlformats.org/officeDocument/2006/relationships/slideLayout" Target="../slideLayouts/slideLayout1072.xml"/><Relationship Id="rId1" Type="http://schemas.openxmlformats.org/officeDocument/2006/relationships/slideLayout" Target="../slideLayouts/slideLayout928.xml"/><Relationship Id="rId6" Type="http://schemas.openxmlformats.org/officeDocument/2006/relationships/slideLayout" Target="../slideLayouts/slideLayout933.xml"/><Relationship Id="rId23" Type="http://schemas.openxmlformats.org/officeDocument/2006/relationships/slideLayout" Target="../slideLayouts/slideLayout950.xml"/><Relationship Id="rId28" Type="http://schemas.openxmlformats.org/officeDocument/2006/relationships/slideLayout" Target="../slideLayouts/slideLayout955.xml"/><Relationship Id="rId49" Type="http://schemas.openxmlformats.org/officeDocument/2006/relationships/slideLayout" Target="../slideLayouts/slideLayout976.xml"/><Relationship Id="rId114" Type="http://schemas.openxmlformats.org/officeDocument/2006/relationships/slideLayout" Target="../slideLayouts/slideLayout1041.xml"/><Relationship Id="rId119" Type="http://schemas.openxmlformats.org/officeDocument/2006/relationships/slideLayout" Target="../slideLayouts/slideLayout1046.xml"/><Relationship Id="rId44" Type="http://schemas.openxmlformats.org/officeDocument/2006/relationships/slideLayout" Target="../slideLayouts/slideLayout971.xml"/><Relationship Id="rId60" Type="http://schemas.openxmlformats.org/officeDocument/2006/relationships/slideLayout" Target="../slideLayouts/slideLayout987.xml"/><Relationship Id="rId65" Type="http://schemas.openxmlformats.org/officeDocument/2006/relationships/slideLayout" Target="../slideLayouts/slideLayout992.xml"/><Relationship Id="rId81" Type="http://schemas.openxmlformats.org/officeDocument/2006/relationships/slideLayout" Target="../slideLayouts/slideLayout1008.xml"/><Relationship Id="rId86" Type="http://schemas.openxmlformats.org/officeDocument/2006/relationships/slideLayout" Target="../slideLayouts/slideLayout1013.xml"/><Relationship Id="rId130" Type="http://schemas.openxmlformats.org/officeDocument/2006/relationships/slideLayout" Target="../slideLayouts/slideLayout1057.xml"/><Relationship Id="rId135" Type="http://schemas.openxmlformats.org/officeDocument/2006/relationships/slideLayout" Target="../slideLayouts/slideLayout1062.xml"/><Relationship Id="rId13" Type="http://schemas.openxmlformats.org/officeDocument/2006/relationships/slideLayout" Target="../slideLayouts/slideLayout940.xml"/><Relationship Id="rId18" Type="http://schemas.openxmlformats.org/officeDocument/2006/relationships/slideLayout" Target="../slideLayouts/slideLayout945.xml"/><Relationship Id="rId39" Type="http://schemas.openxmlformats.org/officeDocument/2006/relationships/slideLayout" Target="../slideLayouts/slideLayout966.xml"/><Relationship Id="rId109" Type="http://schemas.openxmlformats.org/officeDocument/2006/relationships/slideLayout" Target="../slideLayouts/slideLayout1036.xml"/><Relationship Id="rId34" Type="http://schemas.openxmlformats.org/officeDocument/2006/relationships/slideLayout" Target="../slideLayouts/slideLayout961.xml"/><Relationship Id="rId50" Type="http://schemas.openxmlformats.org/officeDocument/2006/relationships/slideLayout" Target="../slideLayouts/slideLayout977.xml"/><Relationship Id="rId55" Type="http://schemas.openxmlformats.org/officeDocument/2006/relationships/slideLayout" Target="../slideLayouts/slideLayout982.xml"/><Relationship Id="rId76" Type="http://schemas.openxmlformats.org/officeDocument/2006/relationships/slideLayout" Target="../slideLayouts/slideLayout1003.xml"/><Relationship Id="rId97" Type="http://schemas.openxmlformats.org/officeDocument/2006/relationships/slideLayout" Target="../slideLayouts/slideLayout1024.xml"/><Relationship Id="rId104" Type="http://schemas.openxmlformats.org/officeDocument/2006/relationships/slideLayout" Target="../slideLayouts/slideLayout1031.xml"/><Relationship Id="rId120" Type="http://schemas.openxmlformats.org/officeDocument/2006/relationships/slideLayout" Target="../slideLayouts/slideLayout1047.xml"/><Relationship Id="rId125" Type="http://schemas.openxmlformats.org/officeDocument/2006/relationships/slideLayout" Target="../slideLayouts/slideLayout1052.xml"/><Relationship Id="rId141" Type="http://schemas.openxmlformats.org/officeDocument/2006/relationships/slideLayout" Target="../slideLayouts/slideLayout1068.xml"/><Relationship Id="rId146" Type="http://schemas.openxmlformats.org/officeDocument/2006/relationships/slideLayout" Target="../slideLayouts/slideLayout1073.xml"/><Relationship Id="rId7" Type="http://schemas.openxmlformats.org/officeDocument/2006/relationships/slideLayout" Target="../slideLayouts/slideLayout934.xml"/><Relationship Id="rId71" Type="http://schemas.openxmlformats.org/officeDocument/2006/relationships/slideLayout" Target="../slideLayouts/slideLayout998.xml"/><Relationship Id="rId92" Type="http://schemas.openxmlformats.org/officeDocument/2006/relationships/slideLayout" Target="../slideLayouts/slideLayout1019.xml"/><Relationship Id="rId2" Type="http://schemas.openxmlformats.org/officeDocument/2006/relationships/slideLayout" Target="../slideLayouts/slideLayout929.xml"/><Relationship Id="rId29" Type="http://schemas.openxmlformats.org/officeDocument/2006/relationships/slideLayout" Target="../slideLayouts/slideLayout956.xml"/><Relationship Id="rId24" Type="http://schemas.openxmlformats.org/officeDocument/2006/relationships/slideLayout" Target="../slideLayouts/slideLayout951.xml"/><Relationship Id="rId40" Type="http://schemas.openxmlformats.org/officeDocument/2006/relationships/slideLayout" Target="../slideLayouts/slideLayout967.xml"/><Relationship Id="rId45" Type="http://schemas.openxmlformats.org/officeDocument/2006/relationships/slideLayout" Target="../slideLayouts/slideLayout972.xml"/><Relationship Id="rId66" Type="http://schemas.openxmlformats.org/officeDocument/2006/relationships/slideLayout" Target="../slideLayouts/slideLayout993.xml"/><Relationship Id="rId87" Type="http://schemas.openxmlformats.org/officeDocument/2006/relationships/slideLayout" Target="../slideLayouts/slideLayout1014.xml"/><Relationship Id="rId110" Type="http://schemas.openxmlformats.org/officeDocument/2006/relationships/slideLayout" Target="../slideLayouts/slideLayout1037.xml"/><Relationship Id="rId115" Type="http://schemas.openxmlformats.org/officeDocument/2006/relationships/slideLayout" Target="../slideLayouts/slideLayout1042.xml"/><Relationship Id="rId131" Type="http://schemas.openxmlformats.org/officeDocument/2006/relationships/slideLayout" Target="../slideLayouts/slideLayout1058.xml"/><Relationship Id="rId136" Type="http://schemas.openxmlformats.org/officeDocument/2006/relationships/slideLayout" Target="../slideLayouts/slideLayout1063.xml"/><Relationship Id="rId61" Type="http://schemas.openxmlformats.org/officeDocument/2006/relationships/slideLayout" Target="../slideLayouts/slideLayout988.xml"/><Relationship Id="rId82" Type="http://schemas.openxmlformats.org/officeDocument/2006/relationships/slideLayout" Target="../slideLayouts/slideLayout1009.xml"/><Relationship Id="rId19" Type="http://schemas.openxmlformats.org/officeDocument/2006/relationships/slideLayout" Target="../slideLayouts/slideLayout946.xml"/><Relationship Id="rId14" Type="http://schemas.openxmlformats.org/officeDocument/2006/relationships/slideLayout" Target="../slideLayouts/slideLayout941.xml"/><Relationship Id="rId30" Type="http://schemas.openxmlformats.org/officeDocument/2006/relationships/slideLayout" Target="../slideLayouts/slideLayout957.xml"/><Relationship Id="rId35" Type="http://schemas.openxmlformats.org/officeDocument/2006/relationships/slideLayout" Target="../slideLayouts/slideLayout962.xml"/><Relationship Id="rId56" Type="http://schemas.openxmlformats.org/officeDocument/2006/relationships/slideLayout" Target="../slideLayouts/slideLayout983.xml"/><Relationship Id="rId77" Type="http://schemas.openxmlformats.org/officeDocument/2006/relationships/slideLayout" Target="../slideLayouts/slideLayout1004.xml"/><Relationship Id="rId100" Type="http://schemas.openxmlformats.org/officeDocument/2006/relationships/slideLayout" Target="../slideLayouts/slideLayout1027.xml"/><Relationship Id="rId105" Type="http://schemas.openxmlformats.org/officeDocument/2006/relationships/slideLayout" Target="../slideLayouts/slideLayout1032.xml"/><Relationship Id="rId126" Type="http://schemas.openxmlformats.org/officeDocument/2006/relationships/slideLayout" Target="../slideLayouts/slideLayout1053.xml"/><Relationship Id="rId147" Type="http://schemas.openxmlformats.org/officeDocument/2006/relationships/slideLayout" Target="../slideLayouts/slideLayout1074.xml"/><Relationship Id="rId8" Type="http://schemas.openxmlformats.org/officeDocument/2006/relationships/slideLayout" Target="../slideLayouts/slideLayout935.xml"/><Relationship Id="rId51" Type="http://schemas.openxmlformats.org/officeDocument/2006/relationships/slideLayout" Target="../slideLayouts/slideLayout978.xml"/><Relationship Id="rId72" Type="http://schemas.openxmlformats.org/officeDocument/2006/relationships/slideLayout" Target="../slideLayouts/slideLayout999.xml"/><Relationship Id="rId93" Type="http://schemas.openxmlformats.org/officeDocument/2006/relationships/slideLayout" Target="../slideLayouts/slideLayout1020.xml"/><Relationship Id="rId98" Type="http://schemas.openxmlformats.org/officeDocument/2006/relationships/slideLayout" Target="../slideLayouts/slideLayout1025.xml"/><Relationship Id="rId121" Type="http://schemas.openxmlformats.org/officeDocument/2006/relationships/slideLayout" Target="../slideLayouts/slideLayout1048.xml"/><Relationship Id="rId142" Type="http://schemas.openxmlformats.org/officeDocument/2006/relationships/slideLayout" Target="../slideLayouts/slideLayout1069.xml"/><Relationship Id="rId3" Type="http://schemas.openxmlformats.org/officeDocument/2006/relationships/slideLayout" Target="../slideLayouts/slideLayout930.xml"/><Relationship Id="rId25" Type="http://schemas.openxmlformats.org/officeDocument/2006/relationships/slideLayout" Target="../slideLayouts/slideLayout952.xml"/><Relationship Id="rId46" Type="http://schemas.openxmlformats.org/officeDocument/2006/relationships/slideLayout" Target="../slideLayouts/slideLayout973.xml"/><Relationship Id="rId67" Type="http://schemas.openxmlformats.org/officeDocument/2006/relationships/slideLayout" Target="../slideLayouts/slideLayout994.xml"/><Relationship Id="rId116" Type="http://schemas.openxmlformats.org/officeDocument/2006/relationships/slideLayout" Target="../slideLayouts/slideLayout1043.xml"/><Relationship Id="rId137" Type="http://schemas.openxmlformats.org/officeDocument/2006/relationships/slideLayout" Target="../slideLayouts/slideLayout1064.xml"/><Relationship Id="rId20" Type="http://schemas.openxmlformats.org/officeDocument/2006/relationships/slideLayout" Target="../slideLayouts/slideLayout947.xml"/><Relationship Id="rId41" Type="http://schemas.openxmlformats.org/officeDocument/2006/relationships/slideLayout" Target="../slideLayouts/slideLayout968.xml"/><Relationship Id="rId62" Type="http://schemas.openxmlformats.org/officeDocument/2006/relationships/slideLayout" Target="../slideLayouts/slideLayout989.xml"/><Relationship Id="rId83" Type="http://schemas.openxmlformats.org/officeDocument/2006/relationships/slideLayout" Target="../slideLayouts/slideLayout1010.xml"/><Relationship Id="rId88" Type="http://schemas.openxmlformats.org/officeDocument/2006/relationships/slideLayout" Target="../slideLayouts/slideLayout1015.xml"/><Relationship Id="rId111" Type="http://schemas.openxmlformats.org/officeDocument/2006/relationships/slideLayout" Target="../slideLayouts/slideLayout1038.xml"/><Relationship Id="rId132" Type="http://schemas.openxmlformats.org/officeDocument/2006/relationships/slideLayout" Target="../slideLayouts/slideLayout1059.xml"/><Relationship Id="rId15" Type="http://schemas.openxmlformats.org/officeDocument/2006/relationships/slideLayout" Target="../slideLayouts/slideLayout942.xml"/><Relationship Id="rId36" Type="http://schemas.openxmlformats.org/officeDocument/2006/relationships/slideLayout" Target="../slideLayouts/slideLayout963.xml"/><Relationship Id="rId57" Type="http://schemas.openxmlformats.org/officeDocument/2006/relationships/slideLayout" Target="../slideLayouts/slideLayout984.xml"/><Relationship Id="rId106" Type="http://schemas.openxmlformats.org/officeDocument/2006/relationships/slideLayout" Target="../slideLayouts/slideLayout1033.xml"/><Relationship Id="rId127" Type="http://schemas.openxmlformats.org/officeDocument/2006/relationships/slideLayout" Target="../slideLayouts/slideLayout1054.xml"/><Relationship Id="rId10" Type="http://schemas.openxmlformats.org/officeDocument/2006/relationships/slideLayout" Target="../slideLayouts/slideLayout937.xml"/><Relationship Id="rId31" Type="http://schemas.openxmlformats.org/officeDocument/2006/relationships/slideLayout" Target="../slideLayouts/slideLayout958.xml"/><Relationship Id="rId52" Type="http://schemas.openxmlformats.org/officeDocument/2006/relationships/slideLayout" Target="../slideLayouts/slideLayout979.xml"/><Relationship Id="rId73" Type="http://schemas.openxmlformats.org/officeDocument/2006/relationships/slideLayout" Target="../slideLayouts/slideLayout1000.xml"/><Relationship Id="rId78" Type="http://schemas.openxmlformats.org/officeDocument/2006/relationships/slideLayout" Target="../slideLayouts/slideLayout1005.xml"/><Relationship Id="rId94" Type="http://schemas.openxmlformats.org/officeDocument/2006/relationships/slideLayout" Target="../slideLayouts/slideLayout1021.xml"/><Relationship Id="rId99" Type="http://schemas.openxmlformats.org/officeDocument/2006/relationships/slideLayout" Target="../slideLayouts/slideLayout1026.xml"/><Relationship Id="rId101" Type="http://schemas.openxmlformats.org/officeDocument/2006/relationships/slideLayout" Target="../slideLayouts/slideLayout1028.xml"/><Relationship Id="rId122" Type="http://schemas.openxmlformats.org/officeDocument/2006/relationships/slideLayout" Target="../slideLayouts/slideLayout1049.xml"/><Relationship Id="rId143" Type="http://schemas.openxmlformats.org/officeDocument/2006/relationships/slideLayout" Target="../slideLayouts/slideLayout1070.xml"/><Relationship Id="rId148" Type="http://schemas.openxmlformats.org/officeDocument/2006/relationships/slideLayout" Target="../slideLayouts/slideLayout1075.xml"/><Relationship Id="rId4" Type="http://schemas.openxmlformats.org/officeDocument/2006/relationships/slideLayout" Target="../slideLayouts/slideLayout931.xml"/><Relationship Id="rId9" Type="http://schemas.openxmlformats.org/officeDocument/2006/relationships/slideLayout" Target="../slideLayouts/slideLayout936.xml"/><Relationship Id="rId26" Type="http://schemas.openxmlformats.org/officeDocument/2006/relationships/slideLayout" Target="../slideLayouts/slideLayout953.xml"/><Relationship Id="rId47" Type="http://schemas.openxmlformats.org/officeDocument/2006/relationships/slideLayout" Target="../slideLayouts/slideLayout974.xml"/><Relationship Id="rId68" Type="http://schemas.openxmlformats.org/officeDocument/2006/relationships/slideLayout" Target="../slideLayouts/slideLayout995.xml"/><Relationship Id="rId89" Type="http://schemas.openxmlformats.org/officeDocument/2006/relationships/slideLayout" Target="../slideLayouts/slideLayout1016.xml"/><Relationship Id="rId112" Type="http://schemas.openxmlformats.org/officeDocument/2006/relationships/slideLayout" Target="../slideLayouts/slideLayout1039.xml"/><Relationship Id="rId133" Type="http://schemas.openxmlformats.org/officeDocument/2006/relationships/slideLayout" Target="../slideLayouts/slideLayout1060.xml"/><Relationship Id="rId16" Type="http://schemas.openxmlformats.org/officeDocument/2006/relationships/slideLayout" Target="../slideLayouts/slideLayout943.xml"/><Relationship Id="rId37" Type="http://schemas.openxmlformats.org/officeDocument/2006/relationships/slideLayout" Target="../slideLayouts/slideLayout964.xml"/><Relationship Id="rId58" Type="http://schemas.openxmlformats.org/officeDocument/2006/relationships/slideLayout" Target="../slideLayouts/slideLayout985.xml"/><Relationship Id="rId79" Type="http://schemas.openxmlformats.org/officeDocument/2006/relationships/slideLayout" Target="../slideLayouts/slideLayout1006.xml"/><Relationship Id="rId102" Type="http://schemas.openxmlformats.org/officeDocument/2006/relationships/slideLayout" Target="../slideLayouts/slideLayout1029.xml"/><Relationship Id="rId123" Type="http://schemas.openxmlformats.org/officeDocument/2006/relationships/slideLayout" Target="../slideLayouts/slideLayout1050.xml"/><Relationship Id="rId144" Type="http://schemas.openxmlformats.org/officeDocument/2006/relationships/slideLayout" Target="../slideLayouts/slideLayout1071.xml"/><Relationship Id="rId90" Type="http://schemas.openxmlformats.org/officeDocument/2006/relationships/slideLayout" Target="../slideLayouts/slideLayout101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4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1079.xml"/><Relationship Id="rId7" Type="http://schemas.openxmlformats.org/officeDocument/2006/relationships/slideLayout" Target="../slideLayouts/slideLayout1083.xml"/><Relationship Id="rId12" Type="http://schemas.openxmlformats.org/officeDocument/2006/relationships/slideLayout" Target="../slideLayouts/slideLayout1088.xml"/><Relationship Id="rId2" Type="http://schemas.openxmlformats.org/officeDocument/2006/relationships/slideLayout" Target="../slideLayouts/slideLayout1078.xml"/><Relationship Id="rId1" Type="http://schemas.openxmlformats.org/officeDocument/2006/relationships/slideLayout" Target="../slideLayouts/slideLayout1077.xml"/><Relationship Id="rId6" Type="http://schemas.openxmlformats.org/officeDocument/2006/relationships/slideLayout" Target="../slideLayouts/slideLayout1082.xml"/><Relationship Id="rId11" Type="http://schemas.openxmlformats.org/officeDocument/2006/relationships/slideLayout" Target="../slideLayouts/slideLayout1087.xml"/><Relationship Id="rId5" Type="http://schemas.openxmlformats.org/officeDocument/2006/relationships/slideLayout" Target="../slideLayouts/slideLayout1081.xml"/><Relationship Id="rId10" Type="http://schemas.openxmlformats.org/officeDocument/2006/relationships/slideLayout" Target="../slideLayouts/slideLayout1086.xml"/><Relationship Id="rId4" Type="http://schemas.openxmlformats.org/officeDocument/2006/relationships/slideLayout" Target="../slideLayouts/slideLayout1080.xml"/><Relationship Id="rId9" Type="http://schemas.openxmlformats.org/officeDocument/2006/relationships/slideLayout" Target="../slideLayouts/slideLayout1085.xml"/></Relationships>
</file>

<file path=ppt/slideMasters/_rels/slideMaster6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205.xml"/><Relationship Id="rId21" Type="http://schemas.openxmlformats.org/officeDocument/2006/relationships/slideLayout" Target="../slideLayouts/slideLayout1109.xml"/><Relationship Id="rId42" Type="http://schemas.openxmlformats.org/officeDocument/2006/relationships/slideLayout" Target="../slideLayouts/slideLayout1130.xml"/><Relationship Id="rId63" Type="http://schemas.openxmlformats.org/officeDocument/2006/relationships/slideLayout" Target="../slideLayouts/slideLayout1151.xml"/><Relationship Id="rId84" Type="http://schemas.openxmlformats.org/officeDocument/2006/relationships/slideLayout" Target="../slideLayouts/slideLayout1172.xml"/><Relationship Id="rId138" Type="http://schemas.openxmlformats.org/officeDocument/2006/relationships/slideLayout" Target="../slideLayouts/slideLayout1226.xml"/><Relationship Id="rId159" Type="http://schemas.openxmlformats.org/officeDocument/2006/relationships/slideLayout" Target="../slideLayouts/slideLayout1247.xml"/><Relationship Id="rId170" Type="http://schemas.openxmlformats.org/officeDocument/2006/relationships/slideLayout" Target="../slideLayouts/slideLayout1258.xml"/><Relationship Id="rId191" Type="http://schemas.openxmlformats.org/officeDocument/2006/relationships/slideLayout" Target="../slideLayouts/slideLayout1279.xml"/><Relationship Id="rId205" Type="http://schemas.openxmlformats.org/officeDocument/2006/relationships/slideLayout" Target="../slideLayouts/slideLayout1293.xml"/><Relationship Id="rId226" Type="http://schemas.openxmlformats.org/officeDocument/2006/relationships/slideLayout" Target="../slideLayouts/slideLayout1314.xml"/><Relationship Id="rId247" Type="http://schemas.openxmlformats.org/officeDocument/2006/relationships/slideLayout" Target="../slideLayouts/slideLayout1335.xml"/><Relationship Id="rId107" Type="http://schemas.openxmlformats.org/officeDocument/2006/relationships/slideLayout" Target="../slideLayouts/slideLayout1195.xml"/><Relationship Id="rId11" Type="http://schemas.openxmlformats.org/officeDocument/2006/relationships/slideLayout" Target="../slideLayouts/slideLayout1099.xml"/><Relationship Id="rId32" Type="http://schemas.openxmlformats.org/officeDocument/2006/relationships/slideLayout" Target="../slideLayouts/slideLayout1120.xml"/><Relationship Id="rId53" Type="http://schemas.openxmlformats.org/officeDocument/2006/relationships/slideLayout" Target="../slideLayouts/slideLayout1141.xml"/><Relationship Id="rId74" Type="http://schemas.openxmlformats.org/officeDocument/2006/relationships/slideLayout" Target="../slideLayouts/slideLayout1162.xml"/><Relationship Id="rId128" Type="http://schemas.openxmlformats.org/officeDocument/2006/relationships/slideLayout" Target="../slideLayouts/slideLayout1216.xml"/><Relationship Id="rId149" Type="http://schemas.openxmlformats.org/officeDocument/2006/relationships/slideLayout" Target="../slideLayouts/slideLayout1237.xml"/><Relationship Id="rId5" Type="http://schemas.openxmlformats.org/officeDocument/2006/relationships/slideLayout" Target="../slideLayouts/slideLayout1093.xml"/><Relationship Id="rId95" Type="http://schemas.openxmlformats.org/officeDocument/2006/relationships/slideLayout" Target="../slideLayouts/slideLayout1183.xml"/><Relationship Id="rId160" Type="http://schemas.openxmlformats.org/officeDocument/2006/relationships/slideLayout" Target="../slideLayouts/slideLayout1248.xml"/><Relationship Id="rId181" Type="http://schemas.openxmlformats.org/officeDocument/2006/relationships/slideLayout" Target="../slideLayouts/slideLayout1269.xml"/><Relationship Id="rId216" Type="http://schemas.openxmlformats.org/officeDocument/2006/relationships/slideLayout" Target="../slideLayouts/slideLayout1304.xml"/><Relationship Id="rId237" Type="http://schemas.openxmlformats.org/officeDocument/2006/relationships/slideLayout" Target="../slideLayouts/slideLayout1325.xml"/><Relationship Id="rId22" Type="http://schemas.openxmlformats.org/officeDocument/2006/relationships/slideLayout" Target="../slideLayouts/slideLayout1110.xml"/><Relationship Id="rId43" Type="http://schemas.openxmlformats.org/officeDocument/2006/relationships/slideLayout" Target="../slideLayouts/slideLayout1131.xml"/><Relationship Id="rId64" Type="http://schemas.openxmlformats.org/officeDocument/2006/relationships/slideLayout" Target="../slideLayouts/slideLayout1152.xml"/><Relationship Id="rId118" Type="http://schemas.openxmlformats.org/officeDocument/2006/relationships/slideLayout" Target="../slideLayouts/slideLayout1206.xml"/><Relationship Id="rId139" Type="http://schemas.openxmlformats.org/officeDocument/2006/relationships/slideLayout" Target="../slideLayouts/slideLayout1227.xml"/><Relationship Id="rId85" Type="http://schemas.openxmlformats.org/officeDocument/2006/relationships/slideLayout" Target="../slideLayouts/slideLayout1173.xml"/><Relationship Id="rId150" Type="http://schemas.openxmlformats.org/officeDocument/2006/relationships/slideLayout" Target="../slideLayouts/slideLayout1238.xml"/><Relationship Id="rId171" Type="http://schemas.openxmlformats.org/officeDocument/2006/relationships/slideLayout" Target="../slideLayouts/slideLayout1259.xml"/><Relationship Id="rId192" Type="http://schemas.openxmlformats.org/officeDocument/2006/relationships/slideLayout" Target="../slideLayouts/slideLayout1280.xml"/><Relationship Id="rId206" Type="http://schemas.openxmlformats.org/officeDocument/2006/relationships/slideLayout" Target="../slideLayouts/slideLayout1294.xml"/><Relationship Id="rId227" Type="http://schemas.openxmlformats.org/officeDocument/2006/relationships/slideLayout" Target="../slideLayouts/slideLayout1315.xml"/><Relationship Id="rId248" Type="http://schemas.openxmlformats.org/officeDocument/2006/relationships/theme" Target="../theme/theme6.xml"/><Relationship Id="rId12" Type="http://schemas.openxmlformats.org/officeDocument/2006/relationships/slideLayout" Target="../slideLayouts/slideLayout1100.xml"/><Relationship Id="rId33" Type="http://schemas.openxmlformats.org/officeDocument/2006/relationships/slideLayout" Target="../slideLayouts/slideLayout1121.xml"/><Relationship Id="rId108" Type="http://schemas.openxmlformats.org/officeDocument/2006/relationships/slideLayout" Target="../slideLayouts/slideLayout1196.xml"/><Relationship Id="rId129" Type="http://schemas.openxmlformats.org/officeDocument/2006/relationships/slideLayout" Target="../slideLayouts/slideLayout1217.xml"/><Relationship Id="rId54" Type="http://schemas.openxmlformats.org/officeDocument/2006/relationships/slideLayout" Target="../slideLayouts/slideLayout1142.xml"/><Relationship Id="rId75" Type="http://schemas.openxmlformats.org/officeDocument/2006/relationships/slideLayout" Target="../slideLayouts/slideLayout1163.xml"/><Relationship Id="rId96" Type="http://schemas.openxmlformats.org/officeDocument/2006/relationships/slideLayout" Target="../slideLayouts/slideLayout1184.xml"/><Relationship Id="rId140" Type="http://schemas.openxmlformats.org/officeDocument/2006/relationships/slideLayout" Target="../slideLayouts/slideLayout1228.xml"/><Relationship Id="rId161" Type="http://schemas.openxmlformats.org/officeDocument/2006/relationships/slideLayout" Target="../slideLayouts/slideLayout1249.xml"/><Relationship Id="rId182" Type="http://schemas.openxmlformats.org/officeDocument/2006/relationships/slideLayout" Target="../slideLayouts/slideLayout1270.xml"/><Relationship Id="rId217" Type="http://schemas.openxmlformats.org/officeDocument/2006/relationships/slideLayout" Target="../slideLayouts/slideLayout1305.xml"/><Relationship Id="rId6" Type="http://schemas.openxmlformats.org/officeDocument/2006/relationships/slideLayout" Target="../slideLayouts/slideLayout1094.xml"/><Relationship Id="rId238" Type="http://schemas.openxmlformats.org/officeDocument/2006/relationships/slideLayout" Target="../slideLayouts/slideLayout1326.xml"/><Relationship Id="rId23" Type="http://schemas.openxmlformats.org/officeDocument/2006/relationships/slideLayout" Target="../slideLayouts/slideLayout1111.xml"/><Relationship Id="rId119" Type="http://schemas.openxmlformats.org/officeDocument/2006/relationships/slideLayout" Target="../slideLayouts/slideLayout1207.xml"/><Relationship Id="rId44" Type="http://schemas.openxmlformats.org/officeDocument/2006/relationships/slideLayout" Target="../slideLayouts/slideLayout1132.xml"/><Relationship Id="rId65" Type="http://schemas.openxmlformats.org/officeDocument/2006/relationships/slideLayout" Target="../slideLayouts/slideLayout1153.xml"/><Relationship Id="rId86" Type="http://schemas.openxmlformats.org/officeDocument/2006/relationships/slideLayout" Target="../slideLayouts/slideLayout1174.xml"/><Relationship Id="rId130" Type="http://schemas.openxmlformats.org/officeDocument/2006/relationships/slideLayout" Target="../slideLayouts/slideLayout1218.xml"/><Relationship Id="rId151" Type="http://schemas.openxmlformats.org/officeDocument/2006/relationships/slideLayout" Target="../slideLayouts/slideLayout1239.xml"/><Relationship Id="rId172" Type="http://schemas.openxmlformats.org/officeDocument/2006/relationships/slideLayout" Target="../slideLayouts/slideLayout1260.xml"/><Relationship Id="rId193" Type="http://schemas.openxmlformats.org/officeDocument/2006/relationships/slideLayout" Target="../slideLayouts/slideLayout1281.xml"/><Relationship Id="rId207" Type="http://schemas.openxmlformats.org/officeDocument/2006/relationships/slideLayout" Target="../slideLayouts/slideLayout1295.xml"/><Relationship Id="rId228" Type="http://schemas.openxmlformats.org/officeDocument/2006/relationships/slideLayout" Target="../slideLayouts/slideLayout1316.xml"/><Relationship Id="rId13" Type="http://schemas.openxmlformats.org/officeDocument/2006/relationships/slideLayout" Target="../slideLayouts/slideLayout1101.xml"/><Relationship Id="rId109" Type="http://schemas.openxmlformats.org/officeDocument/2006/relationships/slideLayout" Target="../slideLayouts/slideLayout1197.xml"/><Relationship Id="rId34" Type="http://schemas.openxmlformats.org/officeDocument/2006/relationships/slideLayout" Target="../slideLayouts/slideLayout1122.xml"/><Relationship Id="rId55" Type="http://schemas.openxmlformats.org/officeDocument/2006/relationships/slideLayout" Target="../slideLayouts/slideLayout1143.xml"/><Relationship Id="rId76" Type="http://schemas.openxmlformats.org/officeDocument/2006/relationships/slideLayout" Target="../slideLayouts/slideLayout1164.xml"/><Relationship Id="rId97" Type="http://schemas.openxmlformats.org/officeDocument/2006/relationships/slideLayout" Target="../slideLayouts/slideLayout1185.xml"/><Relationship Id="rId120" Type="http://schemas.openxmlformats.org/officeDocument/2006/relationships/slideLayout" Target="../slideLayouts/slideLayout1208.xml"/><Relationship Id="rId141" Type="http://schemas.openxmlformats.org/officeDocument/2006/relationships/slideLayout" Target="../slideLayouts/slideLayout1229.xml"/><Relationship Id="rId7" Type="http://schemas.openxmlformats.org/officeDocument/2006/relationships/slideLayout" Target="../slideLayouts/slideLayout1095.xml"/><Relationship Id="rId162" Type="http://schemas.openxmlformats.org/officeDocument/2006/relationships/slideLayout" Target="../slideLayouts/slideLayout1250.xml"/><Relationship Id="rId183" Type="http://schemas.openxmlformats.org/officeDocument/2006/relationships/slideLayout" Target="../slideLayouts/slideLayout1271.xml"/><Relationship Id="rId218" Type="http://schemas.openxmlformats.org/officeDocument/2006/relationships/slideLayout" Target="../slideLayouts/slideLayout1306.xml"/><Relationship Id="rId239" Type="http://schemas.openxmlformats.org/officeDocument/2006/relationships/slideLayout" Target="../slideLayouts/slideLayout1327.xml"/><Relationship Id="rId24" Type="http://schemas.openxmlformats.org/officeDocument/2006/relationships/slideLayout" Target="../slideLayouts/slideLayout1112.xml"/><Relationship Id="rId45" Type="http://schemas.openxmlformats.org/officeDocument/2006/relationships/slideLayout" Target="../slideLayouts/slideLayout1133.xml"/><Relationship Id="rId66" Type="http://schemas.openxmlformats.org/officeDocument/2006/relationships/slideLayout" Target="../slideLayouts/slideLayout1154.xml"/><Relationship Id="rId87" Type="http://schemas.openxmlformats.org/officeDocument/2006/relationships/slideLayout" Target="../slideLayouts/slideLayout1175.xml"/><Relationship Id="rId110" Type="http://schemas.openxmlformats.org/officeDocument/2006/relationships/slideLayout" Target="../slideLayouts/slideLayout1198.xml"/><Relationship Id="rId131" Type="http://schemas.openxmlformats.org/officeDocument/2006/relationships/slideLayout" Target="../slideLayouts/slideLayout1219.xml"/><Relationship Id="rId152" Type="http://schemas.openxmlformats.org/officeDocument/2006/relationships/slideLayout" Target="../slideLayouts/slideLayout1240.xml"/><Relationship Id="rId173" Type="http://schemas.openxmlformats.org/officeDocument/2006/relationships/slideLayout" Target="../slideLayouts/slideLayout1261.xml"/><Relationship Id="rId194" Type="http://schemas.openxmlformats.org/officeDocument/2006/relationships/slideLayout" Target="../slideLayouts/slideLayout1282.xml"/><Relationship Id="rId208" Type="http://schemas.openxmlformats.org/officeDocument/2006/relationships/slideLayout" Target="../slideLayouts/slideLayout1296.xml"/><Relationship Id="rId229" Type="http://schemas.openxmlformats.org/officeDocument/2006/relationships/slideLayout" Target="../slideLayouts/slideLayout1317.xml"/><Relationship Id="rId240" Type="http://schemas.openxmlformats.org/officeDocument/2006/relationships/slideLayout" Target="../slideLayouts/slideLayout1328.xml"/><Relationship Id="rId14" Type="http://schemas.openxmlformats.org/officeDocument/2006/relationships/slideLayout" Target="../slideLayouts/slideLayout1102.xml"/><Relationship Id="rId35" Type="http://schemas.openxmlformats.org/officeDocument/2006/relationships/slideLayout" Target="../slideLayouts/slideLayout1123.xml"/><Relationship Id="rId56" Type="http://schemas.openxmlformats.org/officeDocument/2006/relationships/slideLayout" Target="../slideLayouts/slideLayout1144.xml"/><Relationship Id="rId77" Type="http://schemas.openxmlformats.org/officeDocument/2006/relationships/slideLayout" Target="../slideLayouts/slideLayout1165.xml"/><Relationship Id="rId100" Type="http://schemas.openxmlformats.org/officeDocument/2006/relationships/slideLayout" Target="../slideLayouts/slideLayout1188.xml"/><Relationship Id="rId8" Type="http://schemas.openxmlformats.org/officeDocument/2006/relationships/slideLayout" Target="../slideLayouts/slideLayout1096.xml"/><Relationship Id="rId98" Type="http://schemas.openxmlformats.org/officeDocument/2006/relationships/slideLayout" Target="../slideLayouts/slideLayout1186.xml"/><Relationship Id="rId121" Type="http://schemas.openxmlformats.org/officeDocument/2006/relationships/slideLayout" Target="../slideLayouts/slideLayout1209.xml"/><Relationship Id="rId142" Type="http://schemas.openxmlformats.org/officeDocument/2006/relationships/slideLayout" Target="../slideLayouts/slideLayout1230.xml"/><Relationship Id="rId163" Type="http://schemas.openxmlformats.org/officeDocument/2006/relationships/slideLayout" Target="../slideLayouts/slideLayout1251.xml"/><Relationship Id="rId184" Type="http://schemas.openxmlformats.org/officeDocument/2006/relationships/slideLayout" Target="../slideLayouts/slideLayout1272.xml"/><Relationship Id="rId219" Type="http://schemas.openxmlformats.org/officeDocument/2006/relationships/slideLayout" Target="../slideLayouts/slideLayout1307.xml"/><Relationship Id="rId230" Type="http://schemas.openxmlformats.org/officeDocument/2006/relationships/slideLayout" Target="../slideLayouts/slideLayout1318.xml"/><Relationship Id="rId25" Type="http://schemas.openxmlformats.org/officeDocument/2006/relationships/slideLayout" Target="../slideLayouts/slideLayout1113.xml"/><Relationship Id="rId46" Type="http://schemas.openxmlformats.org/officeDocument/2006/relationships/slideLayout" Target="../slideLayouts/slideLayout1134.xml"/><Relationship Id="rId67" Type="http://schemas.openxmlformats.org/officeDocument/2006/relationships/slideLayout" Target="../slideLayouts/slideLayout1155.xml"/><Relationship Id="rId88" Type="http://schemas.openxmlformats.org/officeDocument/2006/relationships/slideLayout" Target="../slideLayouts/slideLayout1176.xml"/><Relationship Id="rId111" Type="http://schemas.openxmlformats.org/officeDocument/2006/relationships/slideLayout" Target="../slideLayouts/slideLayout1199.xml"/><Relationship Id="rId132" Type="http://schemas.openxmlformats.org/officeDocument/2006/relationships/slideLayout" Target="../slideLayouts/slideLayout1220.xml"/><Relationship Id="rId153" Type="http://schemas.openxmlformats.org/officeDocument/2006/relationships/slideLayout" Target="../slideLayouts/slideLayout1241.xml"/><Relationship Id="rId174" Type="http://schemas.openxmlformats.org/officeDocument/2006/relationships/slideLayout" Target="../slideLayouts/slideLayout1262.xml"/><Relationship Id="rId195" Type="http://schemas.openxmlformats.org/officeDocument/2006/relationships/slideLayout" Target="../slideLayouts/slideLayout1283.xml"/><Relationship Id="rId209" Type="http://schemas.openxmlformats.org/officeDocument/2006/relationships/slideLayout" Target="../slideLayouts/slideLayout1297.xml"/><Relationship Id="rId220" Type="http://schemas.openxmlformats.org/officeDocument/2006/relationships/slideLayout" Target="../slideLayouts/slideLayout1308.xml"/><Relationship Id="rId241" Type="http://schemas.openxmlformats.org/officeDocument/2006/relationships/slideLayout" Target="../slideLayouts/slideLayout1329.xml"/><Relationship Id="rId15" Type="http://schemas.openxmlformats.org/officeDocument/2006/relationships/slideLayout" Target="../slideLayouts/slideLayout1103.xml"/><Relationship Id="rId36" Type="http://schemas.openxmlformats.org/officeDocument/2006/relationships/slideLayout" Target="../slideLayouts/slideLayout1124.xml"/><Relationship Id="rId57" Type="http://schemas.openxmlformats.org/officeDocument/2006/relationships/slideLayout" Target="../slideLayouts/slideLayout1145.xml"/><Relationship Id="rId10" Type="http://schemas.openxmlformats.org/officeDocument/2006/relationships/slideLayout" Target="../slideLayouts/slideLayout1098.xml"/><Relationship Id="rId31" Type="http://schemas.openxmlformats.org/officeDocument/2006/relationships/slideLayout" Target="../slideLayouts/slideLayout1119.xml"/><Relationship Id="rId52" Type="http://schemas.openxmlformats.org/officeDocument/2006/relationships/slideLayout" Target="../slideLayouts/slideLayout1140.xml"/><Relationship Id="rId73" Type="http://schemas.openxmlformats.org/officeDocument/2006/relationships/slideLayout" Target="../slideLayouts/slideLayout1161.xml"/><Relationship Id="rId78" Type="http://schemas.openxmlformats.org/officeDocument/2006/relationships/slideLayout" Target="../slideLayouts/slideLayout1166.xml"/><Relationship Id="rId94" Type="http://schemas.openxmlformats.org/officeDocument/2006/relationships/slideLayout" Target="../slideLayouts/slideLayout1182.xml"/><Relationship Id="rId99" Type="http://schemas.openxmlformats.org/officeDocument/2006/relationships/slideLayout" Target="../slideLayouts/slideLayout1187.xml"/><Relationship Id="rId101" Type="http://schemas.openxmlformats.org/officeDocument/2006/relationships/slideLayout" Target="../slideLayouts/slideLayout1189.xml"/><Relationship Id="rId122" Type="http://schemas.openxmlformats.org/officeDocument/2006/relationships/slideLayout" Target="../slideLayouts/slideLayout1210.xml"/><Relationship Id="rId143" Type="http://schemas.openxmlformats.org/officeDocument/2006/relationships/slideLayout" Target="../slideLayouts/slideLayout1231.xml"/><Relationship Id="rId148" Type="http://schemas.openxmlformats.org/officeDocument/2006/relationships/slideLayout" Target="../slideLayouts/slideLayout1236.xml"/><Relationship Id="rId164" Type="http://schemas.openxmlformats.org/officeDocument/2006/relationships/slideLayout" Target="../slideLayouts/slideLayout1252.xml"/><Relationship Id="rId169" Type="http://schemas.openxmlformats.org/officeDocument/2006/relationships/slideLayout" Target="../slideLayouts/slideLayout1257.xml"/><Relationship Id="rId185" Type="http://schemas.openxmlformats.org/officeDocument/2006/relationships/slideLayout" Target="../slideLayouts/slideLayout1273.xml"/><Relationship Id="rId4" Type="http://schemas.openxmlformats.org/officeDocument/2006/relationships/slideLayout" Target="../slideLayouts/slideLayout1092.xml"/><Relationship Id="rId9" Type="http://schemas.openxmlformats.org/officeDocument/2006/relationships/slideLayout" Target="../slideLayouts/slideLayout1097.xml"/><Relationship Id="rId180" Type="http://schemas.openxmlformats.org/officeDocument/2006/relationships/slideLayout" Target="../slideLayouts/slideLayout1268.xml"/><Relationship Id="rId210" Type="http://schemas.openxmlformats.org/officeDocument/2006/relationships/slideLayout" Target="../slideLayouts/slideLayout1298.xml"/><Relationship Id="rId215" Type="http://schemas.openxmlformats.org/officeDocument/2006/relationships/slideLayout" Target="../slideLayouts/slideLayout1303.xml"/><Relationship Id="rId236" Type="http://schemas.openxmlformats.org/officeDocument/2006/relationships/slideLayout" Target="../slideLayouts/slideLayout1324.xml"/><Relationship Id="rId26" Type="http://schemas.openxmlformats.org/officeDocument/2006/relationships/slideLayout" Target="../slideLayouts/slideLayout1114.xml"/><Relationship Id="rId231" Type="http://schemas.openxmlformats.org/officeDocument/2006/relationships/slideLayout" Target="../slideLayouts/slideLayout1319.xml"/><Relationship Id="rId47" Type="http://schemas.openxmlformats.org/officeDocument/2006/relationships/slideLayout" Target="../slideLayouts/slideLayout1135.xml"/><Relationship Id="rId68" Type="http://schemas.openxmlformats.org/officeDocument/2006/relationships/slideLayout" Target="../slideLayouts/slideLayout1156.xml"/><Relationship Id="rId89" Type="http://schemas.openxmlformats.org/officeDocument/2006/relationships/slideLayout" Target="../slideLayouts/slideLayout1177.xml"/><Relationship Id="rId112" Type="http://schemas.openxmlformats.org/officeDocument/2006/relationships/slideLayout" Target="../slideLayouts/slideLayout1200.xml"/><Relationship Id="rId133" Type="http://schemas.openxmlformats.org/officeDocument/2006/relationships/slideLayout" Target="../slideLayouts/slideLayout1221.xml"/><Relationship Id="rId154" Type="http://schemas.openxmlformats.org/officeDocument/2006/relationships/slideLayout" Target="../slideLayouts/slideLayout1242.xml"/><Relationship Id="rId175" Type="http://schemas.openxmlformats.org/officeDocument/2006/relationships/slideLayout" Target="../slideLayouts/slideLayout1263.xml"/><Relationship Id="rId196" Type="http://schemas.openxmlformats.org/officeDocument/2006/relationships/slideLayout" Target="../slideLayouts/slideLayout1284.xml"/><Relationship Id="rId200" Type="http://schemas.openxmlformats.org/officeDocument/2006/relationships/slideLayout" Target="../slideLayouts/slideLayout1288.xml"/><Relationship Id="rId16" Type="http://schemas.openxmlformats.org/officeDocument/2006/relationships/slideLayout" Target="../slideLayouts/slideLayout1104.xml"/><Relationship Id="rId221" Type="http://schemas.openxmlformats.org/officeDocument/2006/relationships/slideLayout" Target="../slideLayouts/slideLayout1309.xml"/><Relationship Id="rId242" Type="http://schemas.openxmlformats.org/officeDocument/2006/relationships/slideLayout" Target="../slideLayouts/slideLayout1330.xml"/><Relationship Id="rId37" Type="http://schemas.openxmlformats.org/officeDocument/2006/relationships/slideLayout" Target="../slideLayouts/slideLayout1125.xml"/><Relationship Id="rId58" Type="http://schemas.openxmlformats.org/officeDocument/2006/relationships/slideLayout" Target="../slideLayouts/slideLayout1146.xml"/><Relationship Id="rId79" Type="http://schemas.openxmlformats.org/officeDocument/2006/relationships/slideLayout" Target="../slideLayouts/slideLayout1167.xml"/><Relationship Id="rId102" Type="http://schemas.openxmlformats.org/officeDocument/2006/relationships/slideLayout" Target="../slideLayouts/slideLayout1190.xml"/><Relationship Id="rId123" Type="http://schemas.openxmlformats.org/officeDocument/2006/relationships/slideLayout" Target="../slideLayouts/slideLayout1211.xml"/><Relationship Id="rId144" Type="http://schemas.openxmlformats.org/officeDocument/2006/relationships/slideLayout" Target="../slideLayouts/slideLayout1232.xml"/><Relationship Id="rId90" Type="http://schemas.openxmlformats.org/officeDocument/2006/relationships/slideLayout" Target="../slideLayouts/slideLayout1178.xml"/><Relationship Id="rId165" Type="http://schemas.openxmlformats.org/officeDocument/2006/relationships/slideLayout" Target="../slideLayouts/slideLayout1253.xml"/><Relationship Id="rId186" Type="http://schemas.openxmlformats.org/officeDocument/2006/relationships/slideLayout" Target="../slideLayouts/slideLayout1274.xml"/><Relationship Id="rId211" Type="http://schemas.openxmlformats.org/officeDocument/2006/relationships/slideLayout" Target="../slideLayouts/slideLayout1299.xml"/><Relationship Id="rId232" Type="http://schemas.openxmlformats.org/officeDocument/2006/relationships/slideLayout" Target="../slideLayouts/slideLayout1320.xml"/><Relationship Id="rId27" Type="http://schemas.openxmlformats.org/officeDocument/2006/relationships/slideLayout" Target="../slideLayouts/slideLayout1115.xml"/><Relationship Id="rId48" Type="http://schemas.openxmlformats.org/officeDocument/2006/relationships/slideLayout" Target="../slideLayouts/slideLayout1136.xml"/><Relationship Id="rId69" Type="http://schemas.openxmlformats.org/officeDocument/2006/relationships/slideLayout" Target="../slideLayouts/slideLayout1157.xml"/><Relationship Id="rId113" Type="http://schemas.openxmlformats.org/officeDocument/2006/relationships/slideLayout" Target="../slideLayouts/slideLayout1201.xml"/><Relationship Id="rId134" Type="http://schemas.openxmlformats.org/officeDocument/2006/relationships/slideLayout" Target="../slideLayouts/slideLayout1222.xml"/><Relationship Id="rId80" Type="http://schemas.openxmlformats.org/officeDocument/2006/relationships/slideLayout" Target="../slideLayouts/slideLayout1168.xml"/><Relationship Id="rId155" Type="http://schemas.openxmlformats.org/officeDocument/2006/relationships/slideLayout" Target="../slideLayouts/slideLayout1243.xml"/><Relationship Id="rId176" Type="http://schemas.openxmlformats.org/officeDocument/2006/relationships/slideLayout" Target="../slideLayouts/slideLayout1264.xml"/><Relationship Id="rId197" Type="http://schemas.openxmlformats.org/officeDocument/2006/relationships/slideLayout" Target="../slideLayouts/slideLayout1285.xml"/><Relationship Id="rId201" Type="http://schemas.openxmlformats.org/officeDocument/2006/relationships/slideLayout" Target="../slideLayouts/slideLayout1289.xml"/><Relationship Id="rId222" Type="http://schemas.openxmlformats.org/officeDocument/2006/relationships/slideLayout" Target="../slideLayouts/slideLayout1310.xml"/><Relationship Id="rId243" Type="http://schemas.openxmlformats.org/officeDocument/2006/relationships/slideLayout" Target="../slideLayouts/slideLayout1331.xml"/><Relationship Id="rId17" Type="http://schemas.openxmlformats.org/officeDocument/2006/relationships/slideLayout" Target="../slideLayouts/slideLayout1105.xml"/><Relationship Id="rId38" Type="http://schemas.openxmlformats.org/officeDocument/2006/relationships/slideLayout" Target="../slideLayouts/slideLayout1126.xml"/><Relationship Id="rId59" Type="http://schemas.openxmlformats.org/officeDocument/2006/relationships/slideLayout" Target="../slideLayouts/slideLayout1147.xml"/><Relationship Id="rId103" Type="http://schemas.openxmlformats.org/officeDocument/2006/relationships/slideLayout" Target="../slideLayouts/slideLayout1191.xml"/><Relationship Id="rId124" Type="http://schemas.openxmlformats.org/officeDocument/2006/relationships/slideLayout" Target="../slideLayouts/slideLayout1212.xml"/><Relationship Id="rId70" Type="http://schemas.openxmlformats.org/officeDocument/2006/relationships/slideLayout" Target="../slideLayouts/slideLayout1158.xml"/><Relationship Id="rId91" Type="http://schemas.openxmlformats.org/officeDocument/2006/relationships/slideLayout" Target="../slideLayouts/slideLayout1179.xml"/><Relationship Id="rId145" Type="http://schemas.openxmlformats.org/officeDocument/2006/relationships/slideLayout" Target="../slideLayouts/slideLayout1233.xml"/><Relationship Id="rId166" Type="http://schemas.openxmlformats.org/officeDocument/2006/relationships/slideLayout" Target="../slideLayouts/slideLayout1254.xml"/><Relationship Id="rId187" Type="http://schemas.openxmlformats.org/officeDocument/2006/relationships/slideLayout" Target="../slideLayouts/slideLayout1275.xml"/><Relationship Id="rId1" Type="http://schemas.openxmlformats.org/officeDocument/2006/relationships/slideLayout" Target="../slideLayouts/slideLayout1089.xml"/><Relationship Id="rId212" Type="http://schemas.openxmlformats.org/officeDocument/2006/relationships/slideLayout" Target="../slideLayouts/slideLayout1300.xml"/><Relationship Id="rId233" Type="http://schemas.openxmlformats.org/officeDocument/2006/relationships/slideLayout" Target="../slideLayouts/slideLayout1321.xml"/><Relationship Id="rId28" Type="http://schemas.openxmlformats.org/officeDocument/2006/relationships/slideLayout" Target="../slideLayouts/slideLayout1116.xml"/><Relationship Id="rId49" Type="http://schemas.openxmlformats.org/officeDocument/2006/relationships/slideLayout" Target="../slideLayouts/slideLayout1137.xml"/><Relationship Id="rId114" Type="http://schemas.openxmlformats.org/officeDocument/2006/relationships/slideLayout" Target="../slideLayouts/slideLayout1202.xml"/><Relationship Id="rId60" Type="http://schemas.openxmlformats.org/officeDocument/2006/relationships/slideLayout" Target="../slideLayouts/slideLayout1148.xml"/><Relationship Id="rId81" Type="http://schemas.openxmlformats.org/officeDocument/2006/relationships/slideLayout" Target="../slideLayouts/slideLayout1169.xml"/><Relationship Id="rId135" Type="http://schemas.openxmlformats.org/officeDocument/2006/relationships/slideLayout" Target="../slideLayouts/slideLayout1223.xml"/><Relationship Id="rId156" Type="http://schemas.openxmlformats.org/officeDocument/2006/relationships/slideLayout" Target="../slideLayouts/slideLayout1244.xml"/><Relationship Id="rId177" Type="http://schemas.openxmlformats.org/officeDocument/2006/relationships/slideLayout" Target="../slideLayouts/slideLayout1265.xml"/><Relationship Id="rId198" Type="http://schemas.openxmlformats.org/officeDocument/2006/relationships/slideLayout" Target="../slideLayouts/slideLayout1286.xml"/><Relationship Id="rId202" Type="http://schemas.openxmlformats.org/officeDocument/2006/relationships/slideLayout" Target="../slideLayouts/slideLayout1290.xml"/><Relationship Id="rId223" Type="http://schemas.openxmlformats.org/officeDocument/2006/relationships/slideLayout" Target="../slideLayouts/slideLayout1311.xml"/><Relationship Id="rId244" Type="http://schemas.openxmlformats.org/officeDocument/2006/relationships/slideLayout" Target="../slideLayouts/slideLayout1332.xml"/><Relationship Id="rId18" Type="http://schemas.openxmlformats.org/officeDocument/2006/relationships/slideLayout" Target="../slideLayouts/slideLayout1106.xml"/><Relationship Id="rId39" Type="http://schemas.openxmlformats.org/officeDocument/2006/relationships/slideLayout" Target="../slideLayouts/slideLayout1127.xml"/><Relationship Id="rId50" Type="http://schemas.openxmlformats.org/officeDocument/2006/relationships/slideLayout" Target="../slideLayouts/slideLayout1138.xml"/><Relationship Id="rId104" Type="http://schemas.openxmlformats.org/officeDocument/2006/relationships/slideLayout" Target="../slideLayouts/slideLayout1192.xml"/><Relationship Id="rId125" Type="http://schemas.openxmlformats.org/officeDocument/2006/relationships/slideLayout" Target="../slideLayouts/slideLayout1213.xml"/><Relationship Id="rId146" Type="http://schemas.openxmlformats.org/officeDocument/2006/relationships/slideLayout" Target="../slideLayouts/slideLayout1234.xml"/><Relationship Id="rId167" Type="http://schemas.openxmlformats.org/officeDocument/2006/relationships/slideLayout" Target="../slideLayouts/slideLayout1255.xml"/><Relationship Id="rId188" Type="http://schemas.openxmlformats.org/officeDocument/2006/relationships/slideLayout" Target="../slideLayouts/slideLayout1276.xml"/><Relationship Id="rId71" Type="http://schemas.openxmlformats.org/officeDocument/2006/relationships/slideLayout" Target="../slideLayouts/slideLayout1159.xml"/><Relationship Id="rId92" Type="http://schemas.openxmlformats.org/officeDocument/2006/relationships/slideLayout" Target="../slideLayouts/slideLayout1180.xml"/><Relationship Id="rId213" Type="http://schemas.openxmlformats.org/officeDocument/2006/relationships/slideLayout" Target="../slideLayouts/slideLayout1301.xml"/><Relationship Id="rId234" Type="http://schemas.openxmlformats.org/officeDocument/2006/relationships/slideLayout" Target="../slideLayouts/slideLayout1322.xml"/><Relationship Id="rId2" Type="http://schemas.openxmlformats.org/officeDocument/2006/relationships/slideLayout" Target="../slideLayouts/slideLayout1090.xml"/><Relationship Id="rId29" Type="http://schemas.openxmlformats.org/officeDocument/2006/relationships/slideLayout" Target="../slideLayouts/slideLayout1117.xml"/><Relationship Id="rId40" Type="http://schemas.openxmlformats.org/officeDocument/2006/relationships/slideLayout" Target="../slideLayouts/slideLayout1128.xml"/><Relationship Id="rId115" Type="http://schemas.openxmlformats.org/officeDocument/2006/relationships/slideLayout" Target="../slideLayouts/slideLayout1203.xml"/><Relationship Id="rId136" Type="http://schemas.openxmlformats.org/officeDocument/2006/relationships/slideLayout" Target="../slideLayouts/slideLayout1224.xml"/><Relationship Id="rId157" Type="http://schemas.openxmlformats.org/officeDocument/2006/relationships/slideLayout" Target="../slideLayouts/slideLayout1245.xml"/><Relationship Id="rId178" Type="http://schemas.openxmlformats.org/officeDocument/2006/relationships/slideLayout" Target="../slideLayouts/slideLayout1266.xml"/><Relationship Id="rId61" Type="http://schemas.openxmlformats.org/officeDocument/2006/relationships/slideLayout" Target="../slideLayouts/slideLayout1149.xml"/><Relationship Id="rId82" Type="http://schemas.openxmlformats.org/officeDocument/2006/relationships/slideLayout" Target="../slideLayouts/slideLayout1170.xml"/><Relationship Id="rId199" Type="http://schemas.openxmlformats.org/officeDocument/2006/relationships/slideLayout" Target="../slideLayouts/slideLayout1287.xml"/><Relationship Id="rId203" Type="http://schemas.openxmlformats.org/officeDocument/2006/relationships/slideLayout" Target="../slideLayouts/slideLayout1291.xml"/><Relationship Id="rId19" Type="http://schemas.openxmlformats.org/officeDocument/2006/relationships/slideLayout" Target="../slideLayouts/slideLayout1107.xml"/><Relationship Id="rId224" Type="http://schemas.openxmlformats.org/officeDocument/2006/relationships/slideLayout" Target="../slideLayouts/slideLayout1312.xml"/><Relationship Id="rId245" Type="http://schemas.openxmlformats.org/officeDocument/2006/relationships/slideLayout" Target="../slideLayouts/slideLayout1333.xml"/><Relationship Id="rId30" Type="http://schemas.openxmlformats.org/officeDocument/2006/relationships/slideLayout" Target="../slideLayouts/slideLayout1118.xml"/><Relationship Id="rId105" Type="http://schemas.openxmlformats.org/officeDocument/2006/relationships/slideLayout" Target="../slideLayouts/slideLayout1193.xml"/><Relationship Id="rId126" Type="http://schemas.openxmlformats.org/officeDocument/2006/relationships/slideLayout" Target="../slideLayouts/slideLayout1214.xml"/><Relationship Id="rId147" Type="http://schemas.openxmlformats.org/officeDocument/2006/relationships/slideLayout" Target="../slideLayouts/slideLayout1235.xml"/><Relationship Id="rId168" Type="http://schemas.openxmlformats.org/officeDocument/2006/relationships/slideLayout" Target="../slideLayouts/slideLayout1256.xml"/><Relationship Id="rId51" Type="http://schemas.openxmlformats.org/officeDocument/2006/relationships/slideLayout" Target="../slideLayouts/slideLayout1139.xml"/><Relationship Id="rId72" Type="http://schemas.openxmlformats.org/officeDocument/2006/relationships/slideLayout" Target="../slideLayouts/slideLayout1160.xml"/><Relationship Id="rId93" Type="http://schemas.openxmlformats.org/officeDocument/2006/relationships/slideLayout" Target="../slideLayouts/slideLayout1181.xml"/><Relationship Id="rId189" Type="http://schemas.openxmlformats.org/officeDocument/2006/relationships/slideLayout" Target="../slideLayouts/slideLayout1277.xml"/><Relationship Id="rId3" Type="http://schemas.openxmlformats.org/officeDocument/2006/relationships/slideLayout" Target="../slideLayouts/slideLayout1091.xml"/><Relationship Id="rId214" Type="http://schemas.openxmlformats.org/officeDocument/2006/relationships/slideLayout" Target="../slideLayouts/slideLayout1302.xml"/><Relationship Id="rId235" Type="http://schemas.openxmlformats.org/officeDocument/2006/relationships/slideLayout" Target="../slideLayouts/slideLayout1323.xml"/><Relationship Id="rId116" Type="http://schemas.openxmlformats.org/officeDocument/2006/relationships/slideLayout" Target="../slideLayouts/slideLayout1204.xml"/><Relationship Id="rId137" Type="http://schemas.openxmlformats.org/officeDocument/2006/relationships/slideLayout" Target="../slideLayouts/slideLayout1225.xml"/><Relationship Id="rId158" Type="http://schemas.openxmlformats.org/officeDocument/2006/relationships/slideLayout" Target="../slideLayouts/slideLayout1246.xml"/><Relationship Id="rId20" Type="http://schemas.openxmlformats.org/officeDocument/2006/relationships/slideLayout" Target="../slideLayouts/slideLayout1108.xml"/><Relationship Id="rId41" Type="http://schemas.openxmlformats.org/officeDocument/2006/relationships/slideLayout" Target="../slideLayouts/slideLayout1129.xml"/><Relationship Id="rId62" Type="http://schemas.openxmlformats.org/officeDocument/2006/relationships/slideLayout" Target="../slideLayouts/slideLayout1150.xml"/><Relationship Id="rId83" Type="http://schemas.openxmlformats.org/officeDocument/2006/relationships/slideLayout" Target="../slideLayouts/slideLayout1171.xml"/><Relationship Id="rId179" Type="http://schemas.openxmlformats.org/officeDocument/2006/relationships/slideLayout" Target="../slideLayouts/slideLayout1267.xml"/><Relationship Id="rId190" Type="http://schemas.openxmlformats.org/officeDocument/2006/relationships/slideLayout" Target="../slideLayouts/slideLayout1278.xml"/><Relationship Id="rId204" Type="http://schemas.openxmlformats.org/officeDocument/2006/relationships/slideLayout" Target="../slideLayouts/slideLayout1292.xml"/><Relationship Id="rId225" Type="http://schemas.openxmlformats.org/officeDocument/2006/relationships/slideLayout" Target="../slideLayouts/slideLayout1313.xml"/><Relationship Id="rId246" Type="http://schemas.openxmlformats.org/officeDocument/2006/relationships/slideLayout" Target="../slideLayouts/slideLayout1334.xml"/><Relationship Id="rId106" Type="http://schemas.openxmlformats.org/officeDocument/2006/relationships/slideLayout" Target="../slideLayouts/slideLayout1194.xml"/><Relationship Id="rId127" Type="http://schemas.openxmlformats.org/officeDocument/2006/relationships/slideLayout" Target="../slideLayouts/slideLayout1215.xml"/></Relationships>
</file>

<file path=ppt/slideMasters/_rels/slideMaster7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452.xml"/><Relationship Id="rId21" Type="http://schemas.openxmlformats.org/officeDocument/2006/relationships/slideLayout" Target="../slideLayouts/slideLayout1356.xml"/><Relationship Id="rId42" Type="http://schemas.openxmlformats.org/officeDocument/2006/relationships/slideLayout" Target="../slideLayouts/slideLayout1377.xml"/><Relationship Id="rId63" Type="http://schemas.openxmlformats.org/officeDocument/2006/relationships/slideLayout" Target="../slideLayouts/slideLayout1398.xml"/><Relationship Id="rId84" Type="http://schemas.openxmlformats.org/officeDocument/2006/relationships/slideLayout" Target="../slideLayouts/slideLayout1419.xml"/><Relationship Id="rId138" Type="http://schemas.openxmlformats.org/officeDocument/2006/relationships/slideLayout" Target="../slideLayouts/slideLayout1473.xml"/><Relationship Id="rId159" Type="http://schemas.openxmlformats.org/officeDocument/2006/relationships/slideLayout" Target="../slideLayouts/slideLayout1494.xml"/><Relationship Id="rId170" Type="http://schemas.openxmlformats.org/officeDocument/2006/relationships/slideLayout" Target="../slideLayouts/slideLayout1505.xml"/><Relationship Id="rId191" Type="http://schemas.openxmlformats.org/officeDocument/2006/relationships/slideLayout" Target="../slideLayouts/slideLayout1526.xml"/><Relationship Id="rId107" Type="http://schemas.openxmlformats.org/officeDocument/2006/relationships/slideLayout" Target="../slideLayouts/slideLayout1442.xml"/><Relationship Id="rId11" Type="http://schemas.openxmlformats.org/officeDocument/2006/relationships/slideLayout" Target="../slideLayouts/slideLayout1346.xml"/><Relationship Id="rId32" Type="http://schemas.openxmlformats.org/officeDocument/2006/relationships/slideLayout" Target="../slideLayouts/slideLayout1367.xml"/><Relationship Id="rId53" Type="http://schemas.openxmlformats.org/officeDocument/2006/relationships/slideLayout" Target="../slideLayouts/slideLayout1388.xml"/><Relationship Id="rId74" Type="http://schemas.openxmlformats.org/officeDocument/2006/relationships/slideLayout" Target="../slideLayouts/slideLayout1409.xml"/><Relationship Id="rId128" Type="http://schemas.openxmlformats.org/officeDocument/2006/relationships/slideLayout" Target="../slideLayouts/slideLayout1463.xml"/><Relationship Id="rId149" Type="http://schemas.openxmlformats.org/officeDocument/2006/relationships/slideLayout" Target="../slideLayouts/slideLayout1484.xml"/><Relationship Id="rId5" Type="http://schemas.openxmlformats.org/officeDocument/2006/relationships/slideLayout" Target="../slideLayouts/slideLayout1340.xml"/><Relationship Id="rId95" Type="http://schemas.openxmlformats.org/officeDocument/2006/relationships/slideLayout" Target="../slideLayouts/slideLayout1430.xml"/><Relationship Id="rId160" Type="http://schemas.openxmlformats.org/officeDocument/2006/relationships/slideLayout" Target="../slideLayouts/slideLayout1495.xml"/><Relationship Id="rId181" Type="http://schemas.openxmlformats.org/officeDocument/2006/relationships/slideLayout" Target="../slideLayouts/slideLayout1516.xml"/><Relationship Id="rId22" Type="http://schemas.openxmlformats.org/officeDocument/2006/relationships/slideLayout" Target="../slideLayouts/slideLayout1357.xml"/><Relationship Id="rId43" Type="http://schemas.openxmlformats.org/officeDocument/2006/relationships/slideLayout" Target="../slideLayouts/slideLayout1378.xml"/><Relationship Id="rId64" Type="http://schemas.openxmlformats.org/officeDocument/2006/relationships/slideLayout" Target="../slideLayouts/slideLayout1399.xml"/><Relationship Id="rId118" Type="http://schemas.openxmlformats.org/officeDocument/2006/relationships/slideLayout" Target="../slideLayouts/slideLayout1453.xml"/><Relationship Id="rId139" Type="http://schemas.openxmlformats.org/officeDocument/2006/relationships/slideLayout" Target="../slideLayouts/slideLayout1474.xml"/><Relationship Id="rId85" Type="http://schemas.openxmlformats.org/officeDocument/2006/relationships/slideLayout" Target="../slideLayouts/slideLayout1420.xml"/><Relationship Id="rId150" Type="http://schemas.openxmlformats.org/officeDocument/2006/relationships/slideLayout" Target="../slideLayouts/slideLayout1485.xml"/><Relationship Id="rId171" Type="http://schemas.openxmlformats.org/officeDocument/2006/relationships/slideLayout" Target="../slideLayouts/slideLayout1506.xml"/><Relationship Id="rId192" Type="http://schemas.openxmlformats.org/officeDocument/2006/relationships/slideLayout" Target="../slideLayouts/slideLayout1527.xml"/><Relationship Id="rId12" Type="http://schemas.openxmlformats.org/officeDocument/2006/relationships/slideLayout" Target="../slideLayouts/slideLayout1347.xml"/><Relationship Id="rId33" Type="http://schemas.openxmlformats.org/officeDocument/2006/relationships/slideLayout" Target="../slideLayouts/slideLayout1368.xml"/><Relationship Id="rId108" Type="http://schemas.openxmlformats.org/officeDocument/2006/relationships/slideLayout" Target="../slideLayouts/slideLayout1443.xml"/><Relationship Id="rId129" Type="http://schemas.openxmlformats.org/officeDocument/2006/relationships/slideLayout" Target="../slideLayouts/slideLayout1464.xml"/><Relationship Id="rId54" Type="http://schemas.openxmlformats.org/officeDocument/2006/relationships/slideLayout" Target="../slideLayouts/slideLayout1389.xml"/><Relationship Id="rId75" Type="http://schemas.openxmlformats.org/officeDocument/2006/relationships/slideLayout" Target="../slideLayouts/slideLayout1410.xml"/><Relationship Id="rId96" Type="http://schemas.openxmlformats.org/officeDocument/2006/relationships/slideLayout" Target="../slideLayouts/slideLayout1431.xml"/><Relationship Id="rId140" Type="http://schemas.openxmlformats.org/officeDocument/2006/relationships/slideLayout" Target="../slideLayouts/slideLayout1475.xml"/><Relationship Id="rId161" Type="http://schemas.openxmlformats.org/officeDocument/2006/relationships/slideLayout" Target="../slideLayouts/slideLayout1496.xml"/><Relationship Id="rId182" Type="http://schemas.openxmlformats.org/officeDocument/2006/relationships/slideLayout" Target="../slideLayouts/slideLayout1517.xml"/><Relationship Id="rId6" Type="http://schemas.openxmlformats.org/officeDocument/2006/relationships/slideLayout" Target="../slideLayouts/slideLayout1341.xml"/><Relationship Id="rId23" Type="http://schemas.openxmlformats.org/officeDocument/2006/relationships/slideLayout" Target="../slideLayouts/slideLayout1358.xml"/><Relationship Id="rId119" Type="http://schemas.openxmlformats.org/officeDocument/2006/relationships/slideLayout" Target="../slideLayouts/slideLayout1454.xml"/><Relationship Id="rId44" Type="http://schemas.openxmlformats.org/officeDocument/2006/relationships/slideLayout" Target="../slideLayouts/slideLayout1379.xml"/><Relationship Id="rId65" Type="http://schemas.openxmlformats.org/officeDocument/2006/relationships/slideLayout" Target="../slideLayouts/slideLayout1400.xml"/><Relationship Id="rId86" Type="http://schemas.openxmlformats.org/officeDocument/2006/relationships/slideLayout" Target="../slideLayouts/slideLayout1421.xml"/><Relationship Id="rId130" Type="http://schemas.openxmlformats.org/officeDocument/2006/relationships/slideLayout" Target="../slideLayouts/slideLayout1465.xml"/><Relationship Id="rId151" Type="http://schemas.openxmlformats.org/officeDocument/2006/relationships/slideLayout" Target="../slideLayouts/slideLayout1486.xml"/><Relationship Id="rId172" Type="http://schemas.openxmlformats.org/officeDocument/2006/relationships/slideLayout" Target="../slideLayouts/slideLayout1507.xml"/><Relationship Id="rId193" Type="http://schemas.openxmlformats.org/officeDocument/2006/relationships/slideLayout" Target="../slideLayouts/slideLayout1528.xml"/><Relationship Id="rId13" Type="http://schemas.openxmlformats.org/officeDocument/2006/relationships/slideLayout" Target="../slideLayouts/slideLayout1348.xml"/><Relationship Id="rId109" Type="http://schemas.openxmlformats.org/officeDocument/2006/relationships/slideLayout" Target="../slideLayouts/slideLayout1444.xml"/><Relationship Id="rId34" Type="http://schemas.openxmlformats.org/officeDocument/2006/relationships/slideLayout" Target="../slideLayouts/slideLayout1369.xml"/><Relationship Id="rId55" Type="http://schemas.openxmlformats.org/officeDocument/2006/relationships/slideLayout" Target="../slideLayouts/slideLayout1390.xml"/><Relationship Id="rId76" Type="http://schemas.openxmlformats.org/officeDocument/2006/relationships/slideLayout" Target="../slideLayouts/slideLayout1411.xml"/><Relationship Id="rId97" Type="http://schemas.openxmlformats.org/officeDocument/2006/relationships/slideLayout" Target="../slideLayouts/slideLayout1432.xml"/><Relationship Id="rId120" Type="http://schemas.openxmlformats.org/officeDocument/2006/relationships/slideLayout" Target="../slideLayouts/slideLayout1455.xml"/><Relationship Id="rId141" Type="http://schemas.openxmlformats.org/officeDocument/2006/relationships/slideLayout" Target="../slideLayouts/slideLayout1476.xml"/><Relationship Id="rId7" Type="http://schemas.openxmlformats.org/officeDocument/2006/relationships/slideLayout" Target="../slideLayouts/slideLayout1342.xml"/><Relationship Id="rId71" Type="http://schemas.openxmlformats.org/officeDocument/2006/relationships/slideLayout" Target="../slideLayouts/slideLayout1406.xml"/><Relationship Id="rId92" Type="http://schemas.openxmlformats.org/officeDocument/2006/relationships/slideLayout" Target="../slideLayouts/slideLayout1427.xml"/><Relationship Id="rId162" Type="http://schemas.openxmlformats.org/officeDocument/2006/relationships/slideLayout" Target="../slideLayouts/slideLayout1497.xml"/><Relationship Id="rId183" Type="http://schemas.openxmlformats.org/officeDocument/2006/relationships/slideLayout" Target="../slideLayouts/slideLayout1518.xml"/><Relationship Id="rId2" Type="http://schemas.openxmlformats.org/officeDocument/2006/relationships/slideLayout" Target="../slideLayouts/slideLayout1337.xml"/><Relationship Id="rId29" Type="http://schemas.openxmlformats.org/officeDocument/2006/relationships/slideLayout" Target="../slideLayouts/slideLayout1364.xml"/><Relationship Id="rId24" Type="http://schemas.openxmlformats.org/officeDocument/2006/relationships/slideLayout" Target="../slideLayouts/slideLayout1359.xml"/><Relationship Id="rId40" Type="http://schemas.openxmlformats.org/officeDocument/2006/relationships/slideLayout" Target="../slideLayouts/slideLayout1375.xml"/><Relationship Id="rId45" Type="http://schemas.openxmlformats.org/officeDocument/2006/relationships/slideLayout" Target="../slideLayouts/slideLayout1380.xml"/><Relationship Id="rId66" Type="http://schemas.openxmlformats.org/officeDocument/2006/relationships/slideLayout" Target="../slideLayouts/slideLayout1401.xml"/><Relationship Id="rId87" Type="http://schemas.openxmlformats.org/officeDocument/2006/relationships/slideLayout" Target="../slideLayouts/slideLayout1422.xml"/><Relationship Id="rId110" Type="http://schemas.openxmlformats.org/officeDocument/2006/relationships/slideLayout" Target="../slideLayouts/slideLayout1445.xml"/><Relationship Id="rId115" Type="http://schemas.openxmlformats.org/officeDocument/2006/relationships/slideLayout" Target="../slideLayouts/slideLayout1450.xml"/><Relationship Id="rId131" Type="http://schemas.openxmlformats.org/officeDocument/2006/relationships/slideLayout" Target="../slideLayouts/slideLayout1466.xml"/><Relationship Id="rId136" Type="http://schemas.openxmlformats.org/officeDocument/2006/relationships/slideLayout" Target="../slideLayouts/slideLayout1471.xml"/><Relationship Id="rId157" Type="http://schemas.openxmlformats.org/officeDocument/2006/relationships/slideLayout" Target="../slideLayouts/slideLayout1492.xml"/><Relationship Id="rId178" Type="http://schemas.openxmlformats.org/officeDocument/2006/relationships/slideLayout" Target="../slideLayouts/slideLayout1513.xml"/><Relationship Id="rId61" Type="http://schemas.openxmlformats.org/officeDocument/2006/relationships/slideLayout" Target="../slideLayouts/slideLayout1396.xml"/><Relationship Id="rId82" Type="http://schemas.openxmlformats.org/officeDocument/2006/relationships/slideLayout" Target="../slideLayouts/slideLayout1417.xml"/><Relationship Id="rId152" Type="http://schemas.openxmlformats.org/officeDocument/2006/relationships/slideLayout" Target="../slideLayouts/slideLayout1487.xml"/><Relationship Id="rId173" Type="http://schemas.openxmlformats.org/officeDocument/2006/relationships/slideLayout" Target="../slideLayouts/slideLayout1508.xml"/><Relationship Id="rId194" Type="http://schemas.openxmlformats.org/officeDocument/2006/relationships/slideLayout" Target="../slideLayouts/slideLayout1529.xml"/><Relationship Id="rId19" Type="http://schemas.openxmlformats.org/officeDocument/2006/relationships/slideLayout" Target="../slideLayouts/slideLayout1354.xml"/><Relationship Id="rId14" Type="http://schemas.openxmlformats.org/officeDocument/2006/relationships/slideLayout" Target="../slideLayouts/slideLayout1349.xml"/><Relationship Id="rId30" Type="http://schemas.openxmlformats.org/officeDocument/2006/relationships/slideLayout" Target="../slideLayouts/slideLayout1365.xml"/><Relationship Id="rId35" Type="http://schemas.openxmlformats.org/officeDocument/2006/relationships/slideLayout" Target="../slideLayouts/slideLayout1370.xml"/><Relationship Id="rId56" Type="http://schemas.openxmlformats.org/officeDocument/2006/relationships/slideLayout" Target="../slideLayouts/slideLayout1391.xml"/><Relationship Id="rId77" Type="http://schemas.openxmlformats.org/officeDocument/2006/relationships/slideLayout" Target="../slideLayouts/slideLayout1412.xml"/><Relationship Id="rId100" Type="http://schemas.openxmlformats.org/officeDocument/2006/relationships/slideLayout" Target="../slideLayouts/slideLayout1435.xml"/><Relationship Id="rId105" Type="http://schemas.openxmlformats.org/officeDocument/2006/relationships/slideLayout" Target="../slideLayouts/slideLayout1440.xml"/><Relationship Id="rId126" Type="http://schemas.openxmlformats.org/officeDocument/2006/relationships/slideLayout" Target="../slideLayouts/slideLayout1461.xml"/><Relationship Id="rId147" Type="http://schemas.openxmlformats.org/officeDocument/2006/relationships/slideLayout" Target="../slideLayouts/slideLayout1482.xml"/><Relationship Id="rId168" Type="http://schemas.openxmlformats.org/officeDocument/2006/relationships/slideLayout" Target="../slideLayouts/slideLayout1503.xml"/><Relationship Id="rId8" Type="http://schemas.openxmlformats.org/officeDocument/2006/relationships/slideLayout" Target="../slideLayouts/slideLayout1343.xml"/><Relationship Id="rId51" Type="http://schemas.openxmlformats.org/officeDocument/2006/relationships/slideLayout" Target="../slideLayouts/slideLayout1386.xml"/><Relationship Id="rId72" Type="http://schemas.openxmlformats.org/officeDocument/2006/relationships/slideLayout" Target="../slideLayouts/slideLayout1407.xml"/><Relationship Id="rId93" Type="http://schemas.openxmlformats.org/officeDocument/2006/relationships/slideLayout" Target="../slideLayouts/slideLayout1428.xml"/><Relationship Id="rId98" Type="http://schemas.openxmlformats.org/officeDocument/2006/relationships/slideLayout" Target="../slideLayouts/slideLayout1433.xml"/><Relationship Id="rId121" Type="http://schemas.openxmlformats.org/officeDocument/2006/relationships/slideLayout" Target="../slideLayouts/slideLayout1456.xml"/><Relationship Id="rId142" Type="http://schemas.openxmlformats.org/officeDocument/2006/relationships/slideLayout" Target="../slideLayouts/slideLayout1477.xml"/><Relationship Id="rId163" Type="http://schemas.openxmlformats.org/officeDocument/2006/relationships/slideLayout" Target="../slideLayouts/slideLayout1498.xml"/><Relationship Id="rId184" Type="http://schemas.openxmlformats.org/officeDocument/2006/relationships/slideLayout" Target="../slideLayouts/slideLayout1519.xml"/><Relationship Id="rId189" Type="http://schemas.openxmlformats.org/officeDocument/2006/relationships/slideLayout" Target="../slideLayouts/slideLayout1524.xml"/><Relationship Id="rId3" Type="http://schemas.openxmlformats.org/officeDocument/2006/relationships/slideLayout" Target="../slideLayouts/slideLayout1338.xml"/><Relationship Id="rId25" Type="http://schemas.openxmlformats.org/officeDocument/2006/relationships/slideLayout" Target="../slideLayouts/slideLayout1360.xml"/><Relationship Id="rId46" Type="http://schemas.openxmlformats.org/officeDocument/2006/relationships/slideLayout" Target="../slideLayouts/slideLayout1381.xml"/><Relationship Id="rId67" Type="http://schemas.openxmlformats.org/officeDocument/2006/relationships/slideLayout" Target="../slideLayouts/slideLayout1402.xml"/><Relationship Id="rId116" Type="http://schemas.openxmlformats.org/officeDocument/2006/relationships/slideLayout" Target="../slideLayouts/slideLayout1451.xml"/><Relationship Id="rId137" Type="http://schemas.openxmlformats.org/officeDocument/2006/relationships/slideLayout" Target="../slideLayouts/slideLayout1472.xml"/><Relationship Id="rId158" Type="http://schemas.openxmlformats.org/officeDocument/2006/relationships/slideLayout" Target="../slideLayouts/slideLayout1493.xml"/><Relationship Id="rId20" Type="http://schemas.openxmlformats.org/officeDocument/2006/relationships/slideLayout" Target="../slideLayouts/slideLayout1355.xml"/><Relationship Id="rId41" Type="http://schemas.openxmlformats.org/officeDocument/2006/relationships/slideLayout" Target="../slideLayouts/slideLayout1376.xml"/><Relationship Id="rId62" Type="http://schemas.openxmlformats.org/officeDocument/2006/relationships/slideLayout" Target="../slideLayouts/slideLayout1397.xml"/><Relationship Id="rId83" Type="http://schemas.openxmlformats.org/officeDocument/2006/relationships/slideLayout" Target="../slideLayouts/slideLayout1418.xml"/><Relationship Id="rId88" Type="http://schemas.openxmlformats.org/officeDocument/2006/relationships/slideLayout" Target="../slideLayouts/slideLayout1423.xml"/><Relationship Id="rId111" Type="http://schemas.openxmlformats.org/officeDocument/2006/relationships/slideLayout" Target="../slideLayouts/slideLayout1446.xml"/><Relationship Id="rId132" Type="http://schemas.openxmlformats.org/officeDocument/2006/relationships/slideLayout" Target="../slideLayouts/slideLayout1467.xml"/><Relationship Id="rId153" Type="http://schemas.openxmlformats.org/officeDocument/2006/relationships/slideLayout" Target="../slideLayouts/slideLayout1488.xml"/><Relationship Id="rId174" Type="http://schemas.openxmlformats.org/officeDocument/2006/relationships/slideLayout" Target="../slideLayouts/slideLayout1509.xml"/><Relationship Id="rId179" Type="http://schemas.openxmlformats.org/officeDocument/2006/relationships/slideLayout" Target="../slideLayouts/slideLayout1514.xml"/><Relationship Id="rId195" Type="http://schemas.openxmlformats.org/officeDocument/2006/relationships/slideLayout" Target="../slideLayouts/slideLayout1530.xml"/><Relationship Id="rId190" Type="http://schemas.openxmlformats.org/officeDocument/2006/relationships/slideLayout" Target="../slideLayouts/slideLayout1525.xml"/><Relationship Id="rId15" Type="http://schemas.openxmlformats.org/officeDocument/2006/relationships/slideLayout" Target="../slideLayouts/slideLayout1350.xml"/><Relationship Id="rId36" Type="http://schemas.openxmlformats.org/officeDocument/2006/relationships/slideLayout" Target="../slideLayouts/slideLayout1371.xml"/><Relationship Id="rId57" Type="http://schemas.openxmlformats.org/officeDocument/2006/relationships/slideLayout" Target="../slideLayouts/slideLayout1392.xml"/><Relationship Id="rId106" Type="http://schemas.openxmlformats.org/officeDocument/2006/relationships/slideLayout" Target="../slideLayouts/slideLayout1441.xml"/><Relationship Id="rId127" Type="http://schemas.openxmlformats.org/officeDocument/2006/relationships/slideLayout" Target="../slideLayouts/slideLayout1462.xml"/><Relationship Id="rId10" Type="http://schemas.openxmlformats.org/officeDocument/2006/relationships/slideLayout" Target="../slideLayouts/slideLayout1345.xml"/><Relationship Id="rId31" Type="http://schemas.openxmlformats.org/officeDocument/2006/relationships/slideLayout" Target="../slideLayouts/slideLayout1366.xml"/><Relationship Id="rId52" Type="http://schemas.openxmlformats.org/officeDocument/2006/relationships/slideLayout" Target="../slideLayouts/slideLayout1387.xml"/><Relationship Id="rId73" Type="http://schemas.openxmlformats.org/officeDocument/2006/relationships/slideLayout" Target="../slideLayouts/slideLayout1408.xml"/><Relationship Id="rId78" Type="http://schemas.openxmlformats.org/officeDocument/2006/relationships/slideLayout" Target="../slideLayouts/slideLayout1413.xml"/><Relationship Id="rId94" Type="http://schemas.openxmlformats.org/officeDocument/2006/relationships/slideLayout" Target="../slideLayouts/slideLayout1429.xml"/><Relationship Id="rId99" Type="http://schemas.openxmlformats.org/officeDocument/2006/relationships/slideLayout" Target="../slideLayouts/slideLayout1434.xml"/><Relationship Id="rId101" Type="http://schemas.openxmlformats.org/officeDocument/2006/relationships/slideLayout" Target="../slideLayouts/slideLayout1436.xml"/><Relationship Id="rId122" Type="http://schemas.openxmlformats.org/officeDocument/2006/relationships/slideLayout" Target="../slideLayouts/slideLayout1457.xml"/><Relationship Id="rId143" Type="http://schemas.openxmlformats.org/officeDocument/2006/relationships/slideLayout" Target="../slideLayouts/slideLayout1478.xml"/><Relationship Id="rId148" Type="http://schemas.openxmlformats.org/officeDocument/2006/relationships/slideLayout" Target="../slideLayouts/slideLayout1483.xml"/><Relationship Id="rId164" Type="http://schemas.openxmlformats.org/officeDocument/2006/relationships/slideLayout" Target="../slideLayouts/slideLayout1499.xml"/><Relationship Id="rId169" Type="http://schemas.openxmlformats.org/officeDocument/2006/relationships/slideLayout" Target="../slideLayouts/slideLayout1504.xml"/><Relationship Id="rId185" Type="http://schemas.openxmlformats.org/officeDocument/2006/relationships/slideLayout" Target="../slideLayouts/slideLayout1520.xml"/><Relationship Id="rId4" Type="http://schemas.openxmlformats.org/officeDocument/2006/relationships/slideLayout" Target="../slideLayouts/slideLayout1339.xml"/><Relationship Id="rId9" Type="http://schemas.openxmlformats.org/officeDocument/2006/relationships/slideLayout" Target="../slideLayouts/slideLayout1344.xml"/><Relationship Id="rId180" Type="http://schemas.openxmlformats.org/officeDocument/2006/relationships/slideLayout" Target="../slideLayouts/slideLayout1515.xml"/><Relationship Id="rId26" Type="http://schemas.openxmlformats.org/officeDocument/2006/relationships/slideLayout" Target="../slideLayouts/slideLayout1361.xml"/><Relationship Id="rId47" Type="http://schemas.openxmlformats.org/officeDocument/2006/relationships/slideLayout" Target="../slideLayouts/slideLayout1382.xml"/><Relationship Id="rId68" Type="http://schemas.openxmlformats.org/officeDocument/2006/relationships/slideLayout" Target="../slideLayouts/slideLayout1403.xml"/><Relationship Id="rId89" Type="http://schemas.openxmlformats.org/officeDocument/2006/relationships/slideLayout" Target="../slideLayouts/slideLayout1424.xml"/><Relationship Id="rId112" Type="http://schemas.openxmlformats.org/officeDocument/2006/relationships/slideLayout" Target="../slideLayouts/slideLayout1447.xml"/><Relationship Id="rId133" Type="http://schemas.openxmlformats.org/officeDocument/2006/relationships/slideLayout" Target="../slideLayouts/slideLayout1468.xml"/><Relationship Id="rId154" Type="http://schemas.openxmlformats.org/officeDocument/2006/relationships/slideLayout" Target="../slideLayouts/slideLayout1489.xml"/><Relationship Id="rId175" Type="http://schemas.openxmlformats.org/officeDocument/2006/relationships/slideLayout" Target="../slideLayouts/slideLayout1510.xml"/><Relationship Id="rId196" Type="http://schemas.openxmlformats.org/officeDocument/2006/relationships/slideLayout" Target="../slideLayouts/slideLayout1531.xml"/><Relationship Id="rId16" Type="http://schemas.openxmlformats.org/officeDocument/2006/relationships/slideLayout" Target="../slideLayouts/slideLayout1351.xml"/><Relationship Id="rId37" Type="http://schemas.openxmlformats.org/officeDocument/2006/relationships/slideLayout" Target="../slideLayouts/slideLayout1372.xml"/><Relationship Id="rId58" Type="http://schemas.openxmlformats.org/officeDocument/2006/relationships/slideLayout" Target="../slideLayouts/slideLayout1393.xml"/><Relationship Id="rId79" Type="http://schemas.openxmlformats.org/officeDocument/2006/relationships/slideLayout" Target="../slideLayouts/slideLayout1414.xml"/><Relationship Id="rId102" Type="http://schemas.openxmlformats.org/officeDocument/2006/relationships/slideLayout" Target="../slideLayouts/slideLayout1437.xml"/><Relationship Id="rId123" Type="http://schemas.openxmlformats.org/officeDocument/2006/relationships/slideLayout" Target="../slideLayouts/slideLayout1458.xml"/><Relationship Id="rId144" Type="http://schemas.openxmlformats.org/officeDocument/2006/relationships/slideLayout" Target="../slideLayouts/slideLayout1479.xml"/><Relationship Id="rId90" Type="http://schemas.openxmlformats.org/officeDocument/2006/relationships/slideLayout" Target="../slideLayouts/slideLayout1425.xml"/><Relationship Id="rId165" Type="http://schemas.openxmlformats.org/officeDocument/2006/relationships/slideLayout" Target="../slideLayouts/slideLayout1500.xml"/><Relationship Id="rId186" Type="http://schemas.openxmlformats.org/officeDocument/2006/relationships/slideLayout" Target="../slideLayouts/slideLayout1521.xml"/><Relationship Id="rId27" Type="http://schemas.openxmlformats.org/officeDocument/2006/relationships/slideLayout" Target="../slideLayouts/slideLayout1362.xml"/><Relationship Id="rId48" Type="http://schemas.openxmlformats.org/officeDocument/2006/relationships/slideLayout" Target="../slideLayouts/slideLayout1383.xml"/><Relationship Id="rId69" Type="http://schemas.openxmlformats.org/officeDocument/2006/relationships/slideLayout" Target="../slideLayouts/slideLayout1404.xml"/><Relationship Id="rId113" Type="http://schemas.openxmlformats.org/officeDocument/2006/relationships/slideLayout" Target="../slideLayouts/slideLayout1448.xml"/><Relationship Id="rId134" Type="http://schemas.openxmlformats.org/officeDocument/2006/relationships/slideLayout" Target="../slideLayouts/slideLayout1469.xml"/><Relationship Id="rId80" Type="http://schemas.openxmlformats.org/officeDocument/2006/relationships/slideLayout" Target="../slideLayouts/slideLayout1415.xml"/><Relationship Id="rId155" Type="http://schemas.openxmlformats.org/officeDocument/2006/relationships/slideLayout" Target="../slideLayouts/slideLayout1490.xml"/><Relationship Id="rId176" Type="http://schemas.openxmlformats.org/officeDocument/2006/relationships/slideLayout" Target="../slideLayouts/slideLayout1511.xml"/><Relationship Id="rId197" Type="http://schemas.openxmlformats.org/officeDocument/2006/relationships/slideLayout" Target="../slideLayouts/slideLayout1532.xml"/><Relationship Id="rId17" Type="http://schemas.openxmlformats.org/officeDocument/2006/relationships/slideLayout" Target="../slideLayouts/slideLayout1352.xml"/><Relationship Id="rId38" Type="http://schemas.openxmlformats.org/officeDocument/2006/relationships/slideLayout" Target="../slideLayouts/slideLayout1373.xml"/><Relationship Id="rId59" Type="http://schemas.openxmlformats.org/officeDocument/2006/relationships/slideLayout" Target="../slideLayouts/slideLayout1394.xml"/><Relationship Id="rId103" Type="http://schemas.openxmlformats.org/officeDocument/2006/relationships/slideLayout" Target="../slideLayouts/slideLayout1438.xml"/><Relationship Id="rId124" Type="http://schemas.openxmlformats.org/officeDocument/2006/relationships/slideLayout" Target="../slideLayouts/slideLayout1459.xml"/><Relationship Id="rId70" Type="http://schemas.openxmlformats.org/officeDocument/2006/relationships/slideLayout" Target="../slideLayouts/slideLayout1405.xml"/><Relationship Id="rId91" Type="http://schemas.openxmlformats.org/officeDocument/2006/relationships/slideLayout" Target="../slideLayouts/slideLayout1426.xml"/><Relationship Id="rId145" Type="http://schemas.openxmlformats.org/officeDocument/2006/relationships/slideLayout" Target="../slideLayouts/slideLayout1480.xml"/><Relationship Id="rId166" Type="http://schemas.openxmlformats.org/officeDocument/2006/relationships/slideLayout" Target="../slideLayouts/slideLayout1501.xml"/><Relationship Id="rId187" Type="http://schemas.openxmlformats.org/officeDocument/2006/relationships/slideLayout" Target="../slideLayouts/slideLayout1522.xml"/><Relationship Id="rId1" Type="http://schemas.openxmlformats.org/officeDocument/2006/relationships/slideLayout" Target="../slideLayouts/slideLayout1336.xml"/><Relationship Id="rId28" Type="http://schemas.openxmlformats.org/officeDocument/2006/relationships/slideLayout" Target="../slideLayouts/slideLayout1363.xml"/><Relationship Id="rId49" Type="http://schemas.openxmlformats.org/officeDocument/2006/relationships/slideLayout" Target="../slideLayouts/slideLayout1384.xml"/><Relationship Id="rId114" Type="http://schemas.openxmlformats.org/officeDocument/2006/relationships/slideLayout" Target="../slideLayouts/slideLayout1449.xml"/><Relationship Id="rId60" Type="http://schemas.openxmlformats.org/officeDocument/2006/relationships/slideLayout" Target="../slideLayouts/slideLayout1395.xml"/><Relationship Id="rId81" Type="http://schemas.openxmlformats.org/officeDocument/2006/relationships/slideLayout" Target="../slideLayouts/slideLayout1416.xml"/><Relationship Id="rId135" Type="http://schemas.openxmlformats.org/officeDocument/2006/relationships/slideLayout" Target="../slideLayouts/slideLayout1470.xml"/><Relationship Id="rId156" Type="http://schemas.openxmlformats.org/officeDocument/2006/relationships/slideLayout" Target="../slideLayouts/slideLayout1491.xml"/><Relationship Id="rId177" Type="http://schemas.openxmlformats.org/officeDocument/2006/relationships/slideLayout" Target="../slideLayouts/slideLayout1512.xml"/><Relationship Id="rId198" Type="http://schemas.openxmlformats.org/officeDocument/2006/relationships/theme" Target="../theme/theme7.xml"/><Relationship Id="rId18" Type="http://schemas.openxmlformats.org/officeDocument/2006/relationships/slideLayout" Target="../slideLayouts/slideLayout1353.xml"/><Relationship Id="rId39" Type="http://schemas.openxmlformats.org/officeDocument/2006/relationships/slideLayout" Target="../slideLayouts/slideLayout1374.xml"/><Relationship Id="rId50" Type="http://schemas.openxmlformats.org/officeDocument/2006/relationships/slideLayout" Target="../slideLayouts/slideLayout1385.xml"/><Relationship Id="rId104" Type="http://schemas.openxmlformats.org/officeDocument/2006/relationships/slideLayout" Target="../slideLayouts/slideLayout1439.xml"/><Relationship Id="rId125" Type="http://schemas.openxmlformats.org/officeDocument/2006/relationships/slideLayout" Target="../slideLayouts/slideLayout1460.xml"/><Relationship Id="rId146" Type="http://schemas.openxmlformats.org/officeDocument/2006/relationships/slideLayout" Target="../slideLayouts/slideLayout1481.xml"/><Relationship Id="rId167" Type="http://schemas.openxmlformats.org/officeDocument/2006/relationships/slideLayout" Target="../slideLayouts/slideLayout1502.xml"/><Relationship Id="rId188" Type="http://schemas.openxmlformats.org/officeDocument/2006/relationships/slideLayout" Target="../slideLayouts/slideLayout152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0.xml"/><Relationship Id="rId3" Type="http://schemas.openxmlformats.org/officeDocument/2006/relationships/slideLayout" Target="../slideLayouts/slideLayout1535.xml"/><Relationship Id="rId7" Type="http://schemas.openxmlformats.org/officeDocument/2006/relationships/slideLayout" Target="../slideLayouts/slideLayout1539.xml"/><Relationship Id="rId2" Type="http://schemas.openxmlformats.org/officeDocument/2006/relationships/slideLayout" Target="../slideLayouts/slideLayout1534.xml"/><Relationship Id="rId1" Type="http://schemas.openxmlformats.org/officeDocument/2006/relationships/slideLayout" Target="../slideLayouts/slideLayout1533.xml"/><Relationship Id="rId6" Type="http://schemas.openxmlformats.org/officeDocument/2006/relationships/slideLayout" Target="../slideLayouts/slideLayout1538.xml"/><Relationship Id="rId5" Type="http://schemas.openxmlformats.org/officeDocument/2006/relationships/slideLayout" Target="../slideLayouts/slideLayout1537.xml"/><Relationship Id="rId4" Type="http://schemas.openxmlformats.org/officeDocument/2006/relationships/slideLayout" Target="../slideLayouts/slideLayout1536.xml"/><Relationship Id="rId9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" name="Google Shape;13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6118" r:id="rId28"/>
    <p:sldLayoutId id="2147483677" r:id="rId29"/>
    <p:sldLayoutId id="2147483678" r:id="rId30"/>
    <p:sldLayoutId id="2147483679" r:id="rId31"/>
    <p:sldLayoutId id="2147483680" r:id="rId32"/>
    <p:sldLayoutId id="2147486079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691" r:id="rId43"/>
    <p:sldLayoutId id="2147483692" r:id="rId44"/>
    <p:sldLayoutId id="2147483693" r:id="rId45"/>
    <p:sldLayoutId id="2147483694" r:id="rId46"/>
    <p:sldLayoutId id="2147483695" r:id="rId47"/>
    <p:sldLayoutId id="2147483696" r:id="rId48"/>
    <p:sldLayoutId id="2147483697" r:id="rId49"/>
    <p:sldLayoutId id="2147483698" r:id="rId50"/>
    <p:sldLayoutId id="2147483699" r:id="rId51"/>
    <p:sldLayoutId id="2147483700" r:id="rId52"/>
    <p:sldLayoutId id="2147483701" r:id="rId53"/>
    <p:sldLayoutId id="2147483702" r:id="rId54"/>
    <p:sldLayoutId id="2147483703" r:id="rId55"/>
    <p:sldLayoutId id="2147483704" r:id="rId56"/>
    <p:sldLayoutId id="2147483705" r:id="rId57"/>
    <p:sldLayoutId id="2147486347" r:id="rId58"/>
    <p:sldLayoutId id="2147486348" r:id="rId59"/>
    <p:sldLayoutId id="2147486349" r:id="rId60"/>
    <p:sldLayoutId id="2147486350" r:id="rId61"/>
    <p:sldLayoutId id="2147486351" r:id="rId62"/>
    <p:sldLayoutId id="2147486352" r:id="rId63"/>
    <p:sldLayoutId id="2147486353" r:id="rId64"/>
    <p:sldLayoutId id="2147486354" r:id="rId65"/>
    <p:sldLayoutId id="2147483714" r:id="rId66"/>
    <p:sldLayoutId id="2147483715" r:id="rId67"/>
    <p:sldLayoutId id="2147486090" r:id="rId68"/>
    <p:sldLayoutId id="2147486091" r:id="rId69"/>
    <p:sldLayoutId id="2147486092" r:id="rId70"/>
    <p:sldLayoutId id="2147486087" r:id="rId71"/>
    <p:sldLayoutId id="2147483720" r:id="rId72"/>
    <p:sldLayoutId id="2147486088" r:id="rId73"/>
    <p:sldLayoutId id="2147483722" r:id="rId74"/>
    <p:sldLayoutId id="2147483723" r:id="rId75"/>
    <p:sldLayoutId id="2147483724" r:id="rId76"/>
    <p:sldLayoutId id="2147483725" r:id="rId77"/>
    <p:sldLayoutId id="2147483726" r:id="rId78"/>
    <p:sldLayoutId id="2147486355" r:id="rId79"/>
    <p:sldLayoutId id="2147483728" r:id="rId80"/>
    <p:sldLayoutId id="2147483729" r:id="rId81"/>
    <p:sldLayoutId id="2147483730" r:id="rId82"/>
    <p:sldLayoutId id="2147483731" r:id="rId83"/>
    <p:sldLayoutId id="2147483732" r:id="rId84"/>
    <p:sldLayoutId id="2147483733" r:id="rId85"/>
    <p:sldLayoutId id="2147483734" r:id="rId86"/>
    <p:sldLayoutId id="2147483735" r:id="rId87"/>
    <p:sldLayoutId id="2147483736" r:id="rId88"/>
    <p:sldLayoutId id="2147483737" r:id="rId89"/>
    <p:sldLayoutId id="2147483738" r:id="rId90"/>
    <p:sldLayoutId id="2147483739" r:id="rId91"/>
    <p:sldLayoutId id="2147483740" r:id="rId92"/>
    <p:sldLayoutId id="2147486060" r:id="rId93"/>
    <p:sldLayoutId id="2147483742" r:id="rId94"/>
    <p:sldLayoutId id="2147483743" r:id="rId95"/>
    <p:sldLayoutId id="2147483744" r:id="rId96"/>
    <p:sldLayoutId id="2147483745" r:id="rId97"/>
    <p:sldLayoutId id="2147483746" r:id="rId98"/>
    <p:sldLayoutId id="2147483747" r:id="rId99"/>
    <p:sldLayoutId id="2147483748" r:id="rId100"/>
    <p:sldLayoutId id="2147483749" r:id="rId101"/>
    <p:sldLayoutId id="2147483750" r:id="rId102"/>
    <p:sldLayoutId id="2147483751" r:id="rId103"/>
    <p:sldLayoutId id="2147483752" r:id="rId104"/>
    <p:sldLayoutId id="2147483753" r:id="rId105"/>
    <p:sldLayoutId id="2147483754" r:id="rId106"/>
    <p:sldLayoutId id="2147483755" r:id="rId107"/>
    <p:sldLayoutId id="2147483756" r:id="rId108"/>
    <p:sldLayoutId id="2147483757" r:id="rId109"/>
    <p:sldLayoutId id="2147483758" r:id="rId110"/>
    <p:sldLayoutId id="2147483759" r:id="rId111"/>
    <p:sldLayoutId id="2147483760" r:id="rId112"/>
    <p:sldLayoutId id="2147483761" r:id="rId113"/>
    <p:sldLayoutId id="2147483762" r:id="rId114"/>
    <p:sldLayoutId id="2147483763" r:id="rId115"/>
    <p:sldLayoutId id="2147483764" r:id="rId116"/>
    <p:sldLayoutId id="2147483765" r:id="rId117"/>
    <p:sldLayoutId id="2147483766" r:id="rId118"/>
    <p:sldLayoutId id="2147483767" r:id="rId119"/>
    <p:sldLayoutId id="2147483768" r:id="rId120"/>
    <p:sldLayoutId id="2147483769" r:id="rId121"/>
    <p:sldLayoutId id="2147483770" r:id="rId122"/>
    <p:sldLayoutId id="2147483771" r:id="rId123"/>
    <p:sldLayoutId id="2147483772" r:id="rId124"/>
    <p:sldLayoutId id="2147483773" r:id="rId125"/>
    <p:sldLayoutId id="2147483774" r:id="rId126"/>
    <p:sldLayoutId id="2147483775" r:id="rId127"/>
    <p:sldLayoutId id="2147483776" r:id="rId128"/>
    <p:sldLayoutId id="2147483777" r:id="rId129"/>
    <p:sldLayoutId id="2147483778" r:id="rId130"/>
    <p:sldLayoutId id="2147483779" r:id="rId131"/>
    <p:sldLayoutId id="2147483780" r:id="rId132"/>
    <p:sldLayoutId id="2147483781" r:id="rId133"/>
    <p:sldLayoutId id="2147483782" r:id="rId134"/>
    <p:sldLayoutId id="2147483783" r:id="rId135"/>
    <p:sldLayoutId id="2147483784" r:id="rId136"/>
    <p:sldLayoutId id="2147483785" r:id="rId137"/>
    <p:sldLayoutId id="2147483786" r:id="rId138"/>
    <p:sldLayoutId id="2147483787" r:id="rId139"/>
    <p:sldLayoutId id="2147483788" r:id="rId140"/>
    <p:sldLayoutId id="2147483789" r:id="rId141"/>
    <p:sldLayoutId id="2147483790" r:id="rId142"/>
    <p:sldLayoutId id="2147483791" r:id="rId143"/>
    <p:sldLayoutId id="2147483792" r:id="rId144"/>
    <p:sldLayoutId id="2147483793" r:id="rId145"/>
    <p:sldLayoutId id="2147483794" r:id="rId146"/>
    <p:sldLayoutId id="2147483795" r:id="rId147"/>
    <p:sldLayoutId id="2147483796" r:id="rId148"/>
    <p:sldLayoutId id="2147483797" r:id="rId149"/>
    <p:sldLayoutId id="2147483798" r:id="rId150"/>
    <p:sldLayoutId id="2147483799" r:id="rId151"/>
    <p:sldLayoutId id="2147483800" r:id="rId152"/>
    <p:sldLayoutId id="2147483801" r:id="rId153"/>
    <p:sldLayoutId id="2147483802" r:id="rId154"/>
    <p:sldLayoutId id="2147483803" r:id="rId155"/>
    <p:sldLayoutId id="2147483804" r:id="rId156"/>
    <p:sldLayoutId id="2147483805" r:id="rId157"/>
    <p:sldLayoutId id="2147483806" r:id="rId158"/>
    <p:sldLayoutId id="2147483807" r:id="rId159"/>
    <p:sldLayoutId id="2147483808" r:id="rId160"/>
    <p:sldLayoutId id="2147483809" r:id="rId161"/>
    <p:sldLayoutId id="2147483810" r:id="rId162"/>
    <p:sldLayoutId id="2147483811" r:id="rId163"/>
    <p:sldLayoutId id="2147483812" r:id="rId164"/>
    <p:sldLayoutId id="2147483813" r:id="rId165"/>
    <p:sldLayoutId id="2147483814" r:id="rId166"/>
    <p:sldLayoutId id="2147483815" r:id="rId167"/>
    <p:sldLayoutId id="2147483816" r:id="rId168"/>
    <p:sldLayoutId id="2147483817" r:id="rId169"/>
    <p:sldLayoutId id="2147483818" r:id="rId170"/>
    <p:sldLayoutId id="2147483819" r:id="rId171"/>
    <p:sldLayoutId id="2147483820" r:id="rId172"/>
    <p:sldLayoutId id="2147483821" r:id="rId173"/>
    <p:sldLayoutId id="2147483822" r:id="rId174"/>
    <p:sldLayoutId id="2147483823" r:id="rId175"/>
    <p:sldLayoutId id="2147483824" r:id="rId176"/>
    <p:sldLayoutId id="2147483825" r:id="rId177"/>
    <p:sldLayoutId id="2147483826" r:id="rId178"/>
    <p:sldLayoutId id="2147483827" r:id="rId179"/>
    <p:sldLayoutId id="2147483828" r:id="rId180"/>
    <p:sldLayoutId id="2147483829" r:id="rId181"/>
    <p:sldLayoutId id="2147483830" r:id="rId182"/>
    <p:sldLayoutId id="2147483831" r:id="rId183"/>
    <p:sldLayoutId id="2147483832" r:id="rId184"/>
    <p:sldLayoutId id="2147483833" r:id="rId185"/>
    <p:sldLayoutId id="2147483834" r:id="rId186"/>
    <p:sldLayoutId id="2147483835" r:id="rId187"/>
    <p:sldLayoutId id="2147483836" r:id="rId188"/>
    <p:sldLayoutId id="2147483837" r:id="rId189"/>
    <p:sldLayoutId id="2147483838" r:id="rId190"/>
    <p:sldLayoutId id="2147483839" r:id="rId191"/>
    <p:sldLayoutId id="2147483840" r:id="rId192"/>
    <p:sldLayoutId id="2147483841" r:id="rId193"/>
    <p:sldLayoutId id="2147483842" r:id="rId194"/>
    <p:sldLayoutId id="2147483843" r:id="rId195"/>
    <p:sldLayoutId id="2147483844" r:id="rId196"/>
    <p:sldLayoutId id="2147483845" r:id="rId197"/>
    <p:sldLayoutId id="2147483846" r:id="rId198"/>
    <p:sldLayoutId id="2147483847" r:id="rId199"/>
    <p:sldLayoutId id="2147483848" r:id="rId200"/>
    <p:sldLayoutId id="2147483849" r:id="rId201"/>
    <p:sldLayoutId id="2147483850" r:id="rId202"/>
    <p:sldLayoutId id="2147483851" r:id="rId203"/>
    <p:sldLayoutId id="2147483852" r:id="rId204"/>
    <p:sldLayoutId id="2147483853" r:id="rId205"/>
    <p:sldLayoutId id="2147483854" r:id="rId206"/>
    <p:sldLayoutId id="2147483855" r:id="rId207"/>
    <p:sldLayoutId id="2147483856" r:id="rId208"/>
    <p:sldLayoutId id="2147483857" r:id="rId209"/>
    <p:sldLayoutId id="2147483858" r:id="rId210"/>
    <p:sldLayoutId id="2147483859" r:id="rId211"/>
    <p:sldLayoutId id="2147483860" r:id="rId212"/>
    <p:sldLayoutId id="2147483861" r:id="rId213"/>
    <p:sldLayoutId id="2147483862" r:id="rId214"/>
    <p:sldLayoutId id="2147483863" r:id="rId215"/>
    <p:sldLayoutId id="2147483864" r:id="rId216"/>
    <p:sldLayoutId id="2147483865" r:id="rId217"/>
    <p:sldLayoutId id="2147483866" r:id="rId218"/>
    <p:sldLayoutId id="2147483867" r:id="rId219"/>
    <p:sldLayoutId id="2147486109" r:id="rId220"/>
    <p:sldLayoutId id="2147483869" r:id="rId221"/>
    <p:sldLayoutId id="2147483870" r:id="rId222"/>
    <p:sldLayoutId id="2147483871" r:id="rId223"/>
    <p:sldLayoutId id="2147483872" r:id="rId224"/>
    <p:sldLayoutId id="2147483873" r:id="rId225"/>
    <p:sldLayoutId id="2147483874" r:id="rId226"/>
    <p:sldLayoutId id="2147483875" r:id="rId227"/>
    <p:sldLayoutId id="2147483876" r:id="rId228"/>
    <p:sldLayoutId id="2147486136" r:id="rId229"/>
    <p:sldLayoutId id="2147486137" r:id="rId230"/>
    <p:sldLayoutId id="2147483879" r:id="rId231"/>
    <p:sldLayoutId id="2147483880" r:id="rId232"/>
    <p:sldLayoutId id="2147483881" r:id="rId233"/>
    <p:sldLayoutId id="2147483882" r:id="rId234"/>
    <p:sldLayoutId id="2147483883" r:id="rId235"/>
    <p:sldLayoutId id="2147483884" r:id="rId236"/>
    <p:sldLayoutId id="2147486071" r:id="rId237"/>
    <p:sldLayoutId id="2147483886" r:id="rId238"/>
    <p:sldLayoutId id="2147483887" r:id="rId239"/>
    <p:sldLayoutId id="2147483888" r:id="rId240"/>
    <p:sldLayoutId id="2147483889" r:id="rId241"/>
    <p:sldLayoutId id="2147483890" r:id="rId242"/>
    <p:sldLayoutId id="2147483891" r:id="rId243"/>
    <p:sldLayoutId id="2147483892" r:id="rId244"/>
    <p:sldLayoutId id="2147483893" r:id="rId245"/>
    <p:sldLayoutId id="2147483894" r:id="rId246"/>
    <p:sldLayoutId id="2147483895" r:id="rId247"/>
    <p:sldLayoutId id="2147483896" r:id="rId248"/>
    <p:sldLayoutId id="2147483897" r:id="rId249"/>
    <p:sldLayoutId id="2147483898" r:id="rId250"/>
    <p:sldLayoutId id="2147483899" r:id="rId251"/>
    <p:sldLayoutId id="2147483900" r:id="rId252"/>
    <p:sldLayoutId id="2147483901" r:id="rId253"/>
    <p:sldLayoutId id="2147483902" r:id="rId254"/>
    <p:sldLayoutId id="2147483903" r:id="rId255"/>
    <p:sldLayoutId id="2147483904" r:id="rId256"/>
    <p:sldLayoutId id="2147483905" r:id="rId257"/>
    <p:sldLayoutId id="2147483906" r:id="rId258"/>
    <p:sldLayoutId id="2147483907" r:id="rId259"/>
    <p:sldLayoutId id="2147483908" r:id="rId260"/>
    <p:sldLayoutId id="2147483909" r:id="rId261"/>
    <p:sldLayoutId id="2147483910" r:id="rId262"/>
    <p:sldLayoutId id="2147483911" r:id="rId263"/>
    <p:sldLayoutId id="2147483912" r:id="rId264"/>
    <p:sldLayoutId id="2147483913" r:id="rId265"/>
    <p:sldLayoutId id="2147483914" r:id="rId266"/>
    <p:sldLayoutId id="2147483915" r:id="rId267"/>
    <p:sldLayoutId id="2147483916" r:id="rId268"/>
    <p:sldLayoutId id="2147483917" r:id="rId269"/>
    <p:sldLayoutId id="2147483918" r:id="rId270"/>
    <p:sldLayoutId id="2147483919" r:id="rId271"/>
    <p:sldLayoutId id="2147483920" r:id="rId27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6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4" name="Google Shape;2694;p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695" name="Google Shape;2695;p4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96" name="Google Shape;2696;p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697" name="Google Shape;2697;p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  <p:sldLayoutId id="2147483930" r:id="rId9"/>
    <p:sldLayoutId id="2147483931" r:id="rId10"/>
    <p:sldLayoutId id="2147483932" r:id="rId11"/>
    <p:sldLayoutId id="2147483933" r:id="rId12"/>
    <p:sldLayoutId id="2147483934" r:id="rId13"/>
    <p:sldLayoutId id="2147483935" r:id="rId14"/>
    <p:sldLayoutId id="2147483936" r:id="rId15"/>
    <p:sldLayoutId id="2147483937" r:id="rId16"/>
    <p:sldLayoutId id="2147483938" r:id="rId17"/>
    <p:sldLayoutId id="2147483939" r:id="rId18"/>
    <p:sldLayoutId id="2147483940" r:id="rId19"/>
    <p:sldLayoutId id="2147483941" r:id="rId20"/>
    <p:sldLayoutId id="2147483942" r:id="rId21"/>
    <p:sldLayoutId id="2147483943" r:id="rId22"/>
    <p:sldLayoutId id="2147483944" r:id="rId23"/>
    <p:sldLayoutId id="2147483945" r:id="rId24"/>
    <p:sldLayoutId id="2147483946" r:id="rId25"/>
    <p:sldLayoutId id="2147483947" r:id="rId26"/>
    <p:sldLayoutId id="2147483948" r:id="rId27"/>
    <p:sldLayoutId id="2147483949" r:id="rId28"/>
    <p:sldLayoutId id="2147483950" r:id="rId29"/>
    <p:sldLayoutId id="2147483951" r:id="rId30"/>
    <p:sldLayoutId id="2147483952" r:id="rId31"/>
    <p:sldLayoutId id="2147483953" r:id="rId32"/>
    <p:sldLayoutId id="2147483954" r:id="rId33"/>
    <p:sldLayoutId id="2147483955" r:id="rId34"/>
    <p:sldLayoutId id="2147483956" r:id="rId35"/>
    <p:sldLayoutId id="2147483957" r:id="rId36"/>
    <p:sldLayoutId id="2147483958" r:id="rId37"/>
    <p:sldLayoutId id="2147483959" r:id="rId38"/>
    <p:sldLayoutId id="2147483960" r:id="rId39"/>
    <p:sldLayoutId id="2147483961" r:id="rId40"/>
    <p:sldLayoutId id="2147483962" r:id="rId41"/>
    <p:sldLayoutId id="2147483963" r:id="rId42"/>
    <p:sldLayoutId id="2147483964" r:id="rId43"/>
    <p:sldLayoutId id="2147483965" r:id="rId44"/>
    <p:sldLayoutId id="2147483966" r:id="rId45"/>
    <p:sldLayoutId id="2147483967" r:id="rId46"/>
    <p:sldLayoutId id="2147483968" r:id="rId47"/>
    <p:sldLayoutId id="2147483969" r:id="rId48"/>
    <p:sldLayoutId id="2147483970" r:id="rId49"/>
    <p:sldLayoutId id="2147483971" r:id="rId50"/>
    <p:sldLayoutId id="2147483972" r:id="rId51"/>
    <p:sldLayoutId id="2147483973" r:id="rId52"/>
    <p:sldLayoutId id="2147483974" r:id="rId53"/>
    <p:sldLayoutId id="2147483975" r:id="rId54"/>
    <p:sldLayoutId id="2147483976" r:id="rId55"/>
    <p:sldLayoutId id="2147483977" r:id="rId56"/>
    <p:sldLayoutId id="2147483978" r:id="rId57"/>
    <p:sldLayoutId id="2147483979" r:id="rId58"/>
    <p:sldLayoutId id="2147483980" r:id="rId59"/>
    <p:sldLayoutId id="2147483981" r:id="rId60"/>
    <p:sldLayoutId id="2147483982" r:id="rId61"/>
    <p:sldLayoutId id="2147483983" r:id="rId62"/>
    <p:sldLayoutId id="2147483984" r:id="rId63"/>
    <p:sldLayoutId id="2147483985" r:id="rId64"/>
    <p:sldLayoutId id="2147483986" r:id="rId65"/>
    <p:sldLayoutId id="2147483987" r:id="rId66"/>
    <p:sldLayoutId id="2147483988" r:id="rId67"/>
    <p:sldLayoutId id="2147483989" r:id="rId68"/>
    <p:sldLayoutId id="2147483990" r:id="rId69"/>
    <p:sldLayoutId id="2147483991" r:id="rId70"/>
    <p:sldLayoutId id="2147483992" r:id="rId71"/>
    <p:sldLayoutId id="2147483993" r:id="rId72"/>
    <p:sldLayoutId id="2147483994" r:id="rId73"/>
    <p:sldLayoutId id="2147483995" r:id="rId74"/>
    <p:sldLayoutId id="2147483996" r:id="rId75"/>
    <p:sldLayoutId id="2147483997" r:id="rId76"/>
    <p:sldLayoutId id="2147483998" r:id="rId77"/>
    <p:sldLayoutId id="2147483999" r:id="rId78"/>
    <p:sldLayoutId id="2147484000" r:id="rId79"/>
    <p:sldLayoutId id="2147484001" r:id="rId80"/>
    <p:sldLayoutId id="2147484002" r:id="rId81"/>
    <p:sldLayoutId id="2147484003" r:id="rId82"/>
    <p:sldLayoutId id="2147484004" r:id="rId83"/>
    <p:sldLayoutId id="2147484005" r:id="rId84"/>
    <p:sldLayoutId id="2147484006" r:id="rId85"/>
    <p:sldLayoutId id="2147484007" r:id="rId86"/>
    <p:sldLayoutId id="2147484008" r:id="rId87"/>
    <p:sldLayoutId id="2147484009" r:id="rId88"/>
    <p:sldLayoutId id="2147484010" r:id="rId89"/>
    <p:sldLayoutId id="2147484011" r:id="rId90"/>
    <p:sldLayoutId id="2147484012" r:id="rId91"/>
    <p:sldLayoutId id="2147484013" r:id="rId92"/>
    <p:sldLayoutId id="2147484014" r:id="rId93"/>
    <p:sldLayoutId id="2147484015" r:id="rId94"/>
    <p:sldLayoutId id="2147484016" r:id="rId95"/>
    <p:sldLayoutId id="2147484017" r:id="rId96"/>
    <p:sldLayoutId id="2147484018" r:id="rId97"/>
    <p:sldLayoutId id="2147484019" r:id="rId98"/>
    <p:sldLayoutId id="2147484020" r:id="rId99"/>
    <p:sldLayoutId id="2147484021" r:id="rId100"/>
    <p:sldLayoutId id="2147484022" r:id="rId101"/>
    <p:sldLayoutId id="2147484023" r:id="rId102"/>
    <p:sldLayoutId id="2147484024" r:id="rId103"/>
    <p:sldLayoutId id="2147484025" r:id="rId104"/>
    <p:sldLayoutId id="2147484026" r:id="rId105"/>
    <p:sldLayoutId id="2147484027" r:id="rId106"/>
    <p:sldLayoutId id="2147484028" r:id="rId107"/>
    <p:sldLayoutId id="2147484029" r:id="rId108"/>
    <p:sldLayoutId id="2147484030" r:id="rId109"/>
    <p:sldLayoutId id="2147484031" r:id="rId110"/>
    <p:sldLayoutId id="2147484032" r:id="rId111"/>
    <p:sldLayoutId id="2147484033" r:id="rId112"/>
    <p:sldLayoutId id="2147484034" r:id="rId113"/>
    <p:sldLayoutId id="2147484035" r:id="rId114"/>
    <p:sldLayoutId id="2147484036" r:id="rId115"/>
    <p:sldLayoutId id="2147484037" r:id="rId116"/>
    <p:sldLayoutId id="2147484038" r:id="rId117"/>
    <p:sldLayoutId id="2147484039" r:id="rId118"/>
    <p:sldLayoutId id="2147484040" r:id="rId119"/>
    <p:sldLayoutId id="2147484041" r:id="rId120"/>
    <p:sldLayoutId id="2147484042" r:id="rId121"/>
    <p:sldLayoutId id="2147484043" r:id="rId122"/>
    <p:sldLayoutId id="2147484044" r:id="rId123"/>
    <p:sldLayoutId id="2147484045" r:id="rId124"/>
    <p:sldLayoutId id="2147484046" r:id="rId125"/>
    <p:sldLayoutId id="2147484047" r:id="rId126"/>
    <p:sldLayoutId id="2147484048" r:id="rId127"/>
    <p:sldLayoutId id="2147484049" r:id="rId128"/>
    <p:sldLayoutId id="2147484050" r:id="rId129"/>
    <p:sldLayoutId id="2147484051" r:id="rId130"/>
    <p:sldLayoutId id="2147484052" r:id="rId131"/>
    <p:sldLayoutId id="2147484053" r:id="rId132"/>
    <p:sldLayoutId id="2147484054" r:id="rId133"/>
    <p:sldLayoutId id="2147484055" r:id="rId134"/>
    <p:sldLayoutId id="2147484056" r:id="rId135"/>
    <p:sldLayoutId id="2147484057" r:id="rId136"/>
    <p:sldLayoutId id="2147484058" r:id="rId137"/>
    <p:sldLayoutId id="2147484059" r:id="rId138"/>
    <p:sldLayoutId id="2147484060" r:id="rId139"/>
    <p:sldLayoutId id="2147484061" r:id="rId140"/>
    <p:sldLayoutId id="2147484062" r:id="rId141"/>
    <p:sldLayoutId id="2147484063" r:id="rId142"/>
    <p:sldLayoutId id="2147484064" r:id="rId143"/>
    <p:sldLayoutId id="2147484065" r:id="rId144"/>
    <p:sldLayoutId id="2147484066" r:id="rId145"/>
    <p:sldLayoutId id="2147484067" r:id="rId146"/>
    <p:sldLayoutId id="2147484068" r:id="rId147"/>
    <p:sldLayoutId id="2147484069" r:id="rId148"/>
    <p:sldLayoutId id="2147484070" r:id="rId14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82" name="Google Shape;4182;p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183" name="Google Shape;4183;p5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84" name="Google Shape;4184;p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185" name="Google Shape;4185;p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4072" r:id="rId1"/>
    <p:sldLayoutId id="2147484073" r:id="rId2"/>
    <p:sldLayoutId id="2147484074" r:id="rId3"/>
    <p:sldLayoutId id="2147484075" r:id="rId4"/>
    <p:sldLayoutId id="2147484076" r:id="rId5"/>
    <p:sldLayoutId id="2147484077" r:id="rId6"/>
    <p:sldLayoutId id="2147484078" r:id="rId7"/>
    <p:sldLayoutId id="2147484079" r:id="rId8"/>
    <p:sldLayoutId id="2147484080" r:id="rId9"/>
    <p:sldLayoutId id="2147484081" r:id="rId10"/>
    <p:sldLayoutId id="2147484082" r:id="rId11"/>
    <p:sldLayoutId id="2147484083" r:id="rId12"/>
    <p:sldLayoutId id="2147484084" r:id="rId13"/>
    <p:sldLayoutId id="2147484085" r:id="rId14"/>
    <p:sldLayoutId id="2147484086" r:id="rId15"/>
    <p:sldLayoutId id="2147484087" r:id="rId16"/>
    <p:sldLayoutId id="2147484088" r:id="rId17"/>
    <p:sldLayoutId id="2147484089" r:id="rId18"/>
    <p:sldLayoutId id="2147484090" r:id="rId19"/>
    <p:sldLayoutId id="2147484091" r:id="rId20"/>
    <p:sldLayoutId id="2147484092" r:id="rId21"/>
    <p:sldLayoutId id="2147484093" r:id="rId22"/>
    <p:sldLayoutId id="2147484094" r:id="rId23"/>
    <p:sldLayoutId id="2147484095" r:id="rId24"/>
    <p:sldLayoutId id="2147484096" r:id="rId25"/>
    <p:sldLayoutId id="2147484097" r:id="rId26"/>
    <p:sldLayoutId id="2147484098" r:id="rId27"/>
    <p:sldLayoutId id="2147484099" r:id="rId28"/>
    <p:sldLayoutId id="2147484100" r:id="rId29"/>
    <p:sldLayoutId id="2147484101" r:id="rId30"/>
    <p:sldLayoutId id="2147484102" r:id="rId31"/>
    <p:sldLayoutId id="2147484103" r:id="rId32"/>
    <p:sldLayoutId id="2147484104" r:id="rId33"/>
    <p:sldLayoutId id="2147484105" r:id="rId34"/>
    <p:sldLayoutId id="2147484106" r:id="rId35"/>
    <p:sldLayoutId id="2147484107" r:id="rId36"/>
    <p:sldLayoutId id="2147484108" r:id="rId37"/>
    <p:sldLayoutId id="2147484109" r:id="rId38"/>
    <p:sldLayoutId id="2147484110" r:id="rId39"/>
    <p:sldLayoutId id="2147484111" r:id="rId40"/>
    <p:sldLayoutId id="2147484112" r:id="rId41"/>
    <p:sldLayoutId id="2147484113" r:id="rId42"/>
    <p:sldLayoutId id="2147484114" r:id="rId43"/>
    <p:sldLayoutId id="2147484115" r:id="rId44"/>
    <p:sldLayoutId id="2147484116" r:id="rId45"/>
    <p:sldLayoutId id="2147484117" r:id="rId46"/>
    <p:sldLayoutId id="2147484118" r:id="rId47"/>
    <p:sldLayoutId id="2147484119" r:id="rId48"/>
    <p:sldLayoutId id="2147484120" r:id="rId49"/>
    <p:sldLayoutId id="2147484121" r:id="rId50"/>
    <p:sldLayoutId id="2147484122" r:id="rId51"/>
    <p:sldLayoutId id="2147484123" r:id="rId52"/>
    <p:sldLayoutId id="2147484124" r:id="rId53"/>
    <p:sldLayoutId id="2147484125" r:id="rId54"/>
    <p:sldLayoutId id="2147484126" r:id="rId55"/>
    <p:sldLayoutId id="2147484127" r:id="rId56"/>
    <p:sldLayoutId id="2147484128" r:id="rId57"/>
    <p:sldLayoutId id="2147484129" r:id="rId58"/>
    <p:sldLayoutId id="2147484130" r:id="rId59"/>
    <p:sldLayoutId id="2147484131" r:id="rId60"/>
    <p:sldLayoutId id="2147484132" r:id="rId61"/>
    <p:sldLayoutId id="2147484133" r:id="rId62"/>
    <p:sldLayoutId id="2147484134" r:id="rId63"/>
    <p:sldLayoutId id="2147484135" r:id="rId64"/>
    <p:sldLayoutId id="2147484136" r:id="rId65"/>
    <p:sldLayoutId id="2147484137" r:id="rId66"/>
    <p:sldLayoutId id="2147484138" r:id="rId67"/>
    <p:sldLayoutId id="2147484139" r:id="rId68"/>
    <p:sldLayoutId id="2147484140" r:id="rId69"/>
    <p:sldLayoutId id="2147484141" r:id="rId70"/>
    <p:sldLayoutId id="2147484142" r:id="rId71"/>
    <p:sldLayoutId id="2147484143" r:id="rId72"/>
    <p:sldLayoutId id="2147484144" r:id="rId73"/>
    <p:sldLayoutId id="2147484145" r:id="rId74"/>
    <p:sldLayoutId id="2147484146" r:id="rId75"/>
    <p:sldLayoutId id="2147484147" r:id="rId76"/>
    <p:sldLayoutId id="2147484148" r:id="rId77"/>
    <p:sldLayoutId id="2147484149" r:id="rId78"/>
    <p:sldLayoutId id="2147484150" r:id="rId79"/>
    <p:sldLayoutId id="2147484151" r:id="rId80"/>
    <p:sldLayoutId id="2147484152" r:id="rId81"/>
    <p:sldLayoutId id="2147484153" r:id="rId82"/>
    <p:sldLayoutId id="2147484154" r:id="rId83"/>
    <p:sldLayoutId id="2147484155" r:id="rId84"/>
    <p:sldLayoutId id="2147484156" r:id="rId85"/>
    <p:sldLayoutId id="2147484157" r:id="rId86"/>
    <p:sldLayoutId id="2147484158" r:id="rId87"/>
    <p:sldLayoutId id="2147484159" r:id="rId88"/>
    <p:sldLayoutId id="2147484160" r:id="rId89"/>
    <p:sldLayoutId id="2147484161" r:id="rId90"/>
    <p:sldLayoutId id="2147484162" r:id="rId91"/>
    <p:sldLayoutId id="2147484163" r:id="rId92"/>
    <p:sldLayoutId id="2147484164" r:id="rId93"/>
    <p:sldLayoutId id="2147484165" r:id="rId94"/>
    <p:sldLayoutId id="2147484166" r:id="rId95"/>
    <p:sldLayoutId id="2147484167" r:id="rId96"/>
    <p:sldLayoutId id="2147484168" r:id="rId97"/>
    <p:sldLayoutId id="2147484169" r:id="rId98"/>
    <p:sldLayoutId id="2147484170" r:id="rId99"/>
    <p:sldLayoutId id="2147484171" r:id="rId100"/>
    <p:sldLayoutId id="2147484172" r:id="rId101"/>
    <p:sldLayoutId id="2147484173" r:id="rId102"/>
    <p:sldLayoutId id="2147484174" r:id="rId103"/>
    <p:sldLayoutId id="2147484175" r:id="rId104"/>
    <p:sldLayoutId id="2147484176" r:id="rId105"/>
    <p:sldLayoutId id="2147484177" r:id="rId106"/>
    <p:sldLayoutId id="2147484178" r:id="rId107"/>
    <p:sldLayoutId id="2147484179" r:id="rId108"/>
    <p:sldLayoutId id="2147484180" r:id="rId109"/>
    <p:sldLayoutId id="2147484181" r:id="rId110"/>
    <p:sldLayoutId id="2147484182" r:id="rId111"/>
    <p:sldLayoutId id="2147484183" r:id="rId112"/>
    <p:sldLayoutId id="2147484184" r:id="rId113"/>
    <p:sldLayoutId id="2147484185" r:id="rId114"/>
    <p:sldLayoutId id="2147484186" r:id="rId115"/>
    <p:sldLayoutId id="2147484187" r:id="rId116"/>
    <p:sldLayoutId id="2147484188" r:id="rId117"/>
    <p:sldLayoutId id="2147484189" r:id="rId118"/>
    <p:sldLayoutId id="2147484190" r:id="rId119"/>
    <p:sldLayoutId id="2147484191" r:id="rId120"/>
    <p:sldLayoutId id="2147484192" r:id="rId121"/>
    <p:sldLayoutId id="2147484193" r:id="rId122"/>
    <p:sldLayoutId id="2147484194" r:id="rId123"/>
    <p:sldLayoutId id="2147484195" r:id="rId124"/>
    <p:sldLayoutId id="2147484196" r:id="rId125"/>
    <p:sldLayoutId id="2147484197" r:id="rId126"/>
    <p:sldLayoutId id="2147484198" r:id="rId127"/>
    <p:sldLayoutId id="2147484199" r:id="rId128"/>
    <p:sldLayoutId id="2147486052" r:id="rId129"/>
    <p:sldLayoutId id="2147484201" r:id="rId130"/>
    <p:sldLayoutId id="2147486053" r:id="rId131"/>
    <p:sldLayoutId id="2147486054" r:id="rId132"/>
    <p:sldLayoutId id="2147486055" r:id="rId133"/>
    <p:sldLayoutId id="2147486056" r:id="rId134"/>
    <p:sldLayoutId id="2147486057" r:id="rId135"/>
    <p:sldLayoutId id="2147484207" r:id="rId136"/>
    <p:sldLayoutId id="2147486059" r:id="rId137"/>
    <p:sldLayoutId id="2147484209" r:id="rId138"/>
    <p:sldLayoutId id="2147484210" r:id="rId139"/>
    <p:sldLayoutId id="2147484211" r:id="rId140"/>
    <p:sldLayoutId id="2147484212" r:id="rId141"/>
    <p:sldLayoutId id="2147484213" r:id="rId142"/>
    <p:sldLayoutId id="2147484214" r:id="rId143"/>
    <p:sldLayoutId id="2147484215" r:id="rId144"/>
    <p:sldLayoutId id="2147484216" r:id="rId145"/>
    <p:sldLayoutId id="2147484217" r:id="rId146"/>
    <p:sldLayoutId id="2147484218" r:id="rId147"/>
    <p:sldLayoutId id="2147484219" r:id="rId148"/>
    <p:sldLayoutId id="2147484220" r:id="rId149"/>
    <p:sldLayoutId id="2147484221" r:id="rId150"/>
    <p:sldLayoutId id="2147486107" r:id="rId151"/>
    <p:sldLayoutId id="2147484223" r:id="rId152"/>
    <p:sldLayoutId id="2147484224" r:id="rId153"/>
    <p:sldLayoutId id="2147484225" r:id="rId154"/>
    <p:sldLayoutId id="2147484226" r:id="rId155"/>
    <p:sldLayoutId id="2147484227" r:id="rId156"/>
    <p:sldLayoutId id="2147484228" r:id="rId157"/>
    <p:sldLayoutId id="2147484229" r:id="rId158"/>
    <p:sldLayoutId id="2147484230" r:id="rId159"/>
    <p:sldLayoutId id="2147486082" r:id="rId160"/>
    <p:sldLayoutId id="2147484232" r:id="rId161"/>
    <p:sldLayoutId id="2147486089" r:id="rId162"/>
    <p:sldLayoutId id="2147484234" r:id="rId163"/>
    <p:sldLayoutId id="2147486084" r:id="rId164"/>
    <p:sldLayoutId id="2147484236" r:id="rId165"/>
    <p:sldLayoutId id="2147486058" r:id="rId166"/>
    <p:sldLayoutId id="2147486051" r:id="rId167"/>
    <p:sldLayoutId id="2147484239" r:id="rId168"/>
    <p:sldLayoutId id="2147484240" r:id="rId169"/>
    <p:sldLayoutId id="2147484241" r:id="rId170"/>
    <p:sldLayoutId id="2147484242" r:id="rId171"/>
    <p:sldLayoutId id="2147484243" r:id="rId172"/>
    <p:sldLayoutId id="2147484244" r:id="rId173"/>
    <p:sldLayoutId id="2147486085" r:id="rId174"/>
    <p:sldLayoutId id="2147484246" r:id="rId175"/>
    <p:sldLayoutId id="2147484247" r:id="rId176"/>
    <p:sldLayoutId id="2147484248" r:id="rId177"/>
    <p:sldLayoutId id="2147484249" r:id="rId178"/>
    <p:sldLayoutId id="2147484250" r:id="rId179"/>
    <p:sldLayoutId id="2147484251" r:id="rId180"/>
    <p:sldLayoutId id="2147484252" r:id="rId181"/>
    <p:sldLayoutId id="2147484253" r:id="rId182"/>
    <p:sldLayoutId id="2147484254" r:id="rId183"/>
    <p:sldLayoutId id="2147484255" r:id="rId184"/>
    <p:sldLayoutId id="2147484256" r:id="rId185"/>
    <p:sldLayoutId id="2147484257" r:id="rId186"/>
    <p:sldLayoutId id="2147484258" r:id="rId187"/>
    <p:sldLayoutId id="2147484259" r:id="rId188"/>
    <p:sldLayoutId id="2147486129" r:id="rId189"/>
    <p:sldLayoutId id="2147484261" r:id="rId190"/>
    <p:sldLayoutId id="2147486086" r:id="rId191"/>
    <p:sldLayoutId id="2147484263" r:id="rId192"/>
    <p:sldLayoutId id="2147484264" r:id="rId193"/>
    <p:sldLayoutId id="2147484265" r:id="rId194"/>
    <p:sldLayoutId id="2147484266" r:id="rId195"/>
    <p:sldLayoutId id="2147486131" r:id="rId196"/>
    <p:sldLayoutId id="2147486083" r:id="rId197"/>
    <p:sldLayoutId id="2147484269" r:id="rId198"/>
    <p:sldLayoutId id="2147484270" r:id="rId199"/>
    <p:sldLayoutId id="2147484271" r:id="rId200"/>
    <p:sldLayoutId id="2147484272" r:id="rId201"/>
    <p:sldLayoutId id="2147484273" r:id="rId202"/>
    <p:sldLayoutId id="2147484274" r:id="rId203"/>
    <p:sldLayoutId id="2147484275" r:id="rId204"/>
    <p:sldLayoutId id="2147484276" r:id="rId205"/>
    <p:sldLayoutId id="2147484277" r:id="rId206"/>
    <p:sldLayoutId id="2147484278" r:id="rId207"/>
    <p:sldLayoutId id="2147484279" r:id="rId208"/>
    <p:sldLayoutId id="2147484280" r:id="rId209"/>
    <p:sldLayoutId id="2147484281" r:id="rId210"/>
    <p:sldLayoutId id="2147484282" r:id="rId211"/>
    <p:sldLayoutId id="2147484283" r:id="rId212"/>
    <p:sldLayoutId id="2147484284" r:id="rId213"/>
    <p:sldLayoutId id="2147484285" r:id="rId214"/>
    <p:sldLayoutId id="2147484286" r:id="rId215"/>
    <p:sldLayoutId id="2147484287" r:id="rId216"/>
    <p:sldLayoutId id="2147484288" r:id="rId217"/>
    <p:sldLayoutId id="2147484289" r:id="rId218"/>
    <p:sldLayoutId id="2147484290" r:id="rId219"/>
    <p:sldLayoutId id="2147484291" r:id="rId220"/>
    <p:sldLayoutId id="2147484292" r:id="rId221"/>
    <p:sldLayoutId id="2147484293" r:id="rId222"/>
    <p:sldLayoutId id="2147484294" r:id="rId223"/>
    <p:sldLayoutId id="2147484295" r:id="rId224"/>
    <p:sldLayoutId id="2147484296" r:id="rId225"/>
    <p:sldLayoutId id="2147484297" r:id="rId226"/>
    <p:sldLayoutId id="2147484298" r:id="rId227"/>
    <p:sldLayoutId id="2147484299" r:id="rId228"/>
    <p:sldLayoutId id="2147484300" r:id="rId229"/>
    <p:sldLayoutId id="2147484301" r:id="rId230"/>
    <p:sldLayoutId id="2147484302" r:id="rId231"/>
    <p:sldLayoutId id="2147484303" r:id="rId232"/>
    <p:sldLayoutId id="2147484304" r:id="rId233"/>
    <p:sldLayoutId id="2147484305" r:id="rId234"/>
    <p:sldLayoutId id="2147484306" r:id="rId235"/>
    <p:sldLayoutId id="2147484307" r:id="rId236"/>
    <p:sldLayoutId id="2147484308" r:id="rId237"/>
    <p:sldLayoutId id="2147484309" r:id="rId238"/>
    <p:sldLayoutId id="2147484310" r:id="rId239"/>
    <p:sldLayoutId id="2147484311" r:id="rId240"/>
    <p:sldLayoutId id="2147484312" r:id="rId241"/>
    <p:sldLayoutId id="2147484313" r:id="rId242"/>
    <p:sldLayoutId id="2147484314" r:id="rId243"/>
    <p:sldLayoutId id="2147484315" r:id="rId244"/>
    <p:sldLayoutId id="2147484316" r:id="rId245"/>
    <p:sldLayoutId id="2147484317" r:id="rId246"/>
    <p:sldLayoutId id="2147484318" r:id="rId247"/>
    <p:sldLayoutId id="2147484319" r:id="rId248"/>
    <p:sldLayoutId id="2147484320" r:id="rId249"/>
    <p:sldLayoutId id="2147484321" r:id="rId250"/>
    <p:sldLayoutId id="2147484322" r:id="rId251"/>
    <p:sldLayoutId id="2147484323" r:id="rId252"/>
    <p:sldLayoutId id="2147484324" r:id="rId253"/>
    <p:sldLayoutId id="2147484325" r:id="rId254"/>
    <p:sldLayoutId id="2147484326" r:id="rId255"/>
    <p:sldLayoutId id="2147484327" r:id="rId256"/>
    <p:sldLayoutId id="2147484328" r:id="rId257"/>
    <p:sldLayoutId id="2147486120" r:id="rId258"/>
    <p:sldLayoutId id="2147486121" r:id="rId259"/>
    <p:sldLayoutId id="2147486122" r:id="rId260"/>
    <p:sldLayoutId id="2147486123" r:id="rId261"/>
    <p:sldLayoutId id="2147484333" r:id="rId262"/>
    <p:sldLayoutId id="2147484334" r:id="rId263"/>
    <p:sldLayoutId id="2147486096" r:id="rId264"/>
    <p:sldLayoutId id="2147486097" r:id="rId265"/>
    <p:sldLayoutId id="2147486098" r:id="rId266"/>
    <p:sldLayoutId id="2147484338" r:id="rId267"/>
    <p:sldLayoutId id="2147486099" r:id="rId268"/>
    <p:sldLayoutId id="2147486100" r:id="rId269"/>
    <p:sldLayoutId id="2147486101" r:id="rId270"/>
    <p:sldLayoutId id="2147486102" r:id="rId271"/>
    <p:sldLayoutId id="2147486103" r:id="rId272"/>
    <p:sldLayoutId id="2147486104" r:id="rId273"/>
    <p:sldLayoutId id="2147484345" r:id="rId274"/>
    <p:sldLayoutId id="2147484346" r:id="rId275"/>
    <p:sldLayoutId id="2147484347" r:id="rId276"/>
    <p:sldLayoutId id="2147484348" r:id="rId277"/>
    <p:sldLayoutId id="2147484349" r:id="rId278"/>
    <p:sldLayoutId id="2147486067" r:id="rId279"/>
    <p:sldLayoutId id="2147486066" r:id="rId280"/>
    <p:sldLayoutId id="2147486068" r:id="rId281"/>
    <p:sldLayoutId id="2147486047" r:id="rId282"/>
    <p:sldLayoutId id="2147486143" r:id="rId283"/>
    <p:sldLayoutId id="2147486069" r:id="rId284"/>
    <p:sldLayoutId id="2147486070" r:id="rId285"/>
    <p:sldLayoutId id="2147486072" r:id="rId286"/>
    <p:sldLayoutId id="2147486073" r:id="rId287"/>
    <p:sldLayoutId id="2147486074" r:id="rId288"/>
    <p:sldLayoutId id="2147486075" r:id="rId289"/>
    <p:sldLayoutId id="2147486076" r:id="rId290"/>
    <p:sldLayoutId id="2147486061" r:id="rId291"/>
    <p:sldLayoutId id="2147486062" r:id="rId292"/>
    <p:sldLayoutId id="2147486105" r:id="rId293"/>
    <p:sldLayoutId id="2147486063" r:id="rId294"/>
    <p:sldLayoutId id="2147486064" r:id="rId295"/>
    <p:sldLayoutId id="2147486065" r:id="rId296"/>
    <p:sldLayoutId id="2147484368" r:id="rId297"/>
    <p:sldLayoutId id="2147484369" r:id="rId298"/>
    <p:sldLayoutId id="2147484370" r:id="rId299"/>
    <p:sldLayoutId id="2147484371" r:id="rId300"/>
    <p:sldLayoutId id="2147484372" r:id="rId301"/>
    <p:sldLayoutId id="2147484373" r:id="rId302"/>
    <p:sldLayoutId id="2147484374" r:id="rId303"/>
    <p:sldLayoutId id="2147484375" r:id="rId304"/>
    <p:sldLayoutId id="2147486145" r:id="rId305"/>
    <p:sldLayoutId id="2147486146" r:id="rId306"/>
    <p:sldLayoutId id="2147486147" r:id="rId307"/>
    <p:sldLayoutId id="2147486148" r:id="rId308"/>
    <p:sldLayoutId id="2147484380" r:id="rId309"/>
    <p:sldLayoutId id="2147484381" r:id="rId310"/>
    <p:sldLayoutId id="2147484382" r:id="rId311"/>
    <p:sldLayoutId id="2147484383" r:id="rId312"/>
    <p:sldLayoutId id="2147486038" r:id="rId313"/>
    <p:sldLayoutId id="2147486040" r:id="rId314"/>
    <p:sldLayoutId id="2147486119" r:id="rId315"/>
    <p:sldLayoutId id="2147486041" r:id="rId316"/>
    <p:sldLayoutId id="2147486042" r:id="rId317"/>
    <p:sldLayoutId id="2147486043" r:id="rId318"/>
    <p:sldLayoutId id="2147486044" r:id="rId319"/>
    <p:sldLayoutId id="2147486045" r:id="rId320"/>
    <p:sldLayoutId id="2147486046" r:id="rId321"/>
    <p:sldLayoutId id="2147486077" r:id="rId322"/>
    <p:sldLayoutId id="2147486078" r:id="rId323"/>
    <p:sldLayoutId id="2147484395" r:id="rId324"/>
    <p:sldLayoutId id="2147484396" r:id="rId325"/>
    <p:sldLayoutId id="2147484397" r:id="rId326"/>
    <p:sldLayoutId id="2147484398" r:id="rId327"/>
    <p:sldLayoutId id="2147484399" r:id="rId328"/>
    <p:sldLayoutId id="2147486093" r:id="rId329"/>
    <p:sldLayoutId id="2147486094" r:id="rId330"/>
    <p:sldLayoutId id="2147486095" r:id="rId331"/>
    <p:sldLayoutId id="2147484403" r:id="rId332"/>
    <p:sldLayoutId id="2147484404" r:id="rId333"/>
    <p:sldLayoutId id="2147484405" r:id="rId334"/>
    <p:sldLayoutId id="2147484406" r:id="rId335"/>
    <p:sldLayoutId id="2147484407" r:id="rId336"/>
    <p:sldLayoutId id="2147484408" r:id="rId337"/>
    <p:sldLayoutId id="2147484409" r:id="rId338"/>
    <p:sldLayoutId id="2147484410" r:id="rId339"/>
    <p:sldLayoutId id="2147484411" r:id="rId340"/>
    <p:sldLayoutId id="2147484412" r:id="rId341"/>
    <p:sldLayoutId id="2147484413" r:id="rId342"/>
    <p:sldLayoutId id="2147484414" r:id="rId343"/>
    <p:sldLayoutId id="2147484415" r:id="rId344"/>
    <p:sldLayoutId id="2147484416" r:id="rId345"/>
    <p:sldLayoutId id="2147484417" r:id="rId346"/>
    <p:sldLayoutId id="2147484418" r:id="rId347"/>
    <p:sldLayoutId id="2147484419" r:id="rId348"/>
    <p:sldLayoutId id="2147484420" r:id="rId349"/>
    <p:sldLayoutId id="2147484421" r:id="rId350"/>
    <p:sldLayoutId id="2147484422" r:id="rId351"/>
    <p:sldLayoutId id="2147484423" r:id="rId352"/>
    <p:sldLayoutId id="2147484424" r:id="rId353"/>
    <p:sldLayoutId id="2147484425" r:id="rId354"/>
    <p:sldLayoutId id="2147484426" r:id="rId355"/>
    <p:sldLayoutId id="2147484427" r:id="rId356"/>
    <p:sldLayoutId id="2147484428" r:id="rId357"/>
    <p:sldLayoutId id="2147484429" r:id="rId358"/>
    <p:sldLayoutId id="2147484430" r:id="rId359"/>
    <p:sldLayoutId id="2147484431" r:id="rId360"/>
    <p:sldLayoutId id="2147484432" r:id="rId361"/>
    <p:sldLayoutId id="2147484433" r:id="rId362"/>
    <p:sldLayoutId id="2147484434" r:id="rId363"/>
    <p:sldLayoutId id="2147484435" r:id="rId364"/>
    <p:sldLayoutId id="2147484436" r:id="rId365"/>
    <p:sldLayoutId id="2147484437" r:id="rId366"/>
    <p:sldLayoutId id="2147484438" r:id="rId367"/>
    <p:sldLayoutId id="2147484439" r:id="rId368"/>
    <p:sldLayoutId id="2147484440" r:id="rId369"/>
    <p:sldLayoutId id="2147484441" r:id="rId370"/>
    <p:sldLayoutId id="2147484442" r:id="rId371"/>
    <p:sldLayoutId id="2147484443" r:id="rId372"/>
    <p:sldLayoutId id="2147484444" r:id="rId373"/>
    <p:sldLayoutId id="2147484445" r:id="rId374"/>
    <p:sldLayoutId id="2147484446" r:id="rId375"/>
    <p:sldLayoutId id="2147484447" r:id="rId376"/>
    <p:sldLayoutId id="2147484448" r:id="rId377"/>
    <p:sldLayoutId id="2147484449" r:id="rId378"/>
    <p:sldLayoutId id="2147484450" r:id="rId379"/>
    <p:sldLayoutId id="2147484451" r:id="rId380"/>
    <p:sldLayoutId id="2147484452" r:id="rId381"/>
    <p:sldLayoutId id="2147484453" r:id="rId382"/>
    <p:sldLayoutId id="2147484454" r:id="rId383"/>
    <p:sldLayoutId id="2147484455" r:id="rId384"/>
    <p:sldLayoutId id="2147484456" r:id="rId385"/>
    <p:sldLayoutId id="2147484457" r:id="rId386"/>
    <p:sldLayoutId id="2147484458" r:id="rId387"/>
    <p:sldLayoutId id="2147484459" r:id="rId388"/>
    <p:sldLayoutId id="2147484460" r:id="rId389"/>
    <p:sldLayoutId id="2147484461" r:id="rId390"/>
    <p:sldLayoutId id="2147484462" r:id="rId391"/>
    <p:sldLayoutId id="2147484463" r:id="rId392"/>
    <p:sldLayoutId id="2147484464" r:id="rId393"/>
    <p:sldLayoutId id="2147484465" r:id="rId394"/>
    <p:sldLayoutId id="2147484466" r:id="rId395"/>
    <p:sldLayoutId id="2147484467" r:id="rId396"/>
    <p:sldLayoutId id="2147484468" r:id="rId397"/>
    <p:sldLayoutId id="2147484469" r:id="rId398"/>
    <p:sldLayoutId id="2147484470" r:id="rId399"/>
    <p:sldLayoutId id="2147484471" r:id="rId400"/>
    <p:sldLayoutId id="2147484472" r:id="rId401"/>
    <p:sldLayoutId id="2147484473" r:id="rId402"/>
    <p:sldLayoutId id="2147484474" r:id="rId403"/>
    <p:sldLayoutId id="2147484475" r:id="rId404"/>
    <p:sldLayoutId id="2147484476" r:id="rId405"/>
    <p:sldLayoutId id="2147486127" r:id="rId406"/>
    <p:sldLayoutId id="2147486128" r:id="rId407"/>
    <p:sldLayoutId id="2147484479" r:id="rId408"/>
    <p:sldLayoutId id="2147486130" r:id="rId409"/>
    <p:sldLayoutId id="2147486132" r:id="rId410"/>
    <p:sldLayoutId id="2147486133" r:id="rId411"/>
    <p:sldLayoutId id="2147486134" r:id="rId412"/>
    <p:sldLayoutId id="2147486135" r:id="rId413"/>
    <p:sldLayoutId id="2147486124" r:id="rId414"/>
    <p:sldLayoutId id="2147486125" r:id="rId415"/>
    <p:sldLayoutId id="2147484487" r:id="rId416"/>
    <p:sldLayoutId id="2147484488" r:id="rId417"/>
    <p:sldLayoutId id="2147484489" r:id="rId418"/>
    <p:sldLayoutId id="2147484490" r:id="rId419"/>
    <p:sldLayoutId id="2147484491" r:id="rId420"/>
    <p:sldLayoutId id="2147484492" r:id="rId421"/>
    <p:sldLayoutId id="2147484493" r:id="rId422"/>
    <p:sldLayoutId id="2147484494" r:id="rId423"/>
    <p:sldLayoutId id="2147484495" r:id="rId424"/>
    <p:sldLayoutId id="2147484496" r:id="rId425"/>
    <p:sldLayoutId id="2147484497" r:id="rId426"/>
    <p:sldLayoutId id="2147484498" r:id="rId427"/>
    <p:sldLayoutId id="2147484499" r:id="rId428"/>
    <p:sldLayoutId id="2147484500" r:id="rId429"/>
    <p:sldLayoutId id="2147484501" r:id="rId430"/>
    <p:sldLayoutId id="2147484502" r:id="rId431"/>
    <p:sldLayoutId id="2147484503" r:id="rId432"/>
    <p:sldLayoutId id="2147484504" r:id="rId433"/>
    <p:sldLayoutId id="2147484505" r:id="rId434"/>
    <p:sldLayoutId id="2147484506" r:id="rId435"/>
    <p:sldLayoutId id="2147484507" r:id="rId436"/>
    <p:sldLayoutId id="2147484508" r:id="rId437"/>
    <p:sldLayoutId id="2147484509" r:id="rId438"/>
    <p:sldLayoutId id="2147484510" r:id="rId439"/>
    <p:sldLayoutId id="2147484511" r:id="rId440"/>
    <p:sldLayoutId id="2147484512" r:id="rId441"/>
    <p:sldLayoutId id="2147484513" r:id="rId442"/>
    <p:sldLayoutId id="2147484514" r:id="rId443"/>
    <p:sldLayoutId id="2147484515" r:id="rId444"/>
    <p:sldLayoutId id="2147484516" r:id="rId445"/>
    <p:sldLayoutId id="2147484517" r:id="rId446"/>
    <p:sldLayoutId id="2147484518" r:id="rId447"/>
    <p:sldLayoutId id="2147484519" r:id="rId448"/>
    <p:sldLayoutId id="2147484520" r:id="rId449"/>
    <p:sldLayoutId id="2147484521" r:id="rId450"/>
    <p:sldLayoutId id="2147484522" r:id="rId451"/>
    <p:sldLayoutId id="2147484523" r:id="rId452"/>
    <p:sldLayoutId id="2147484524" r:id="rId453"/>
    <p:sldLayoutId id="2147484525" r:id="rId454"/>
    <p:sldLayoutId id="2147484526" r:id="rId455"/>
    <p:sldLayoutId id="2147484527" r:id="rId456"/>
    <p:sldLayoutId id="2147484528" r:id="rId457"/>
    <p:sldLayoutId id="2147484529" r:id="rId458"/>
    <p:sldLayoutId id="2147484530" r:id="rId459"/>
    <p:sldLayoutId id="2147484531" r:id="rId460"/>
    <p:sldLayoutId id="2147484532" r:id="rId461"/>
    <p:sldLayoutId id="2147484533" r:id="rId462"/>
    <p:sldLayoutId id="2147484534" r:id="rId463"/>
    <p:sldLayoutId id="2147484535" r:id="rId464"/>
    <p:sldLayoutId id="2147484536" r:id="rId465"/>
    <p:sldLayoutId id="2147484537" r:id="rId466"/>
    <p:sldLayoutId id="2147484538" r:id="rId467"/>
    <p:sldLayoutId id="2147484539" r:id="rId468"/>
    <p:sldLayoutId id="2147484540" r:id="rId469"/>
    <p:sldLayoutId id="2147484541" r:id="rId470"/>
    <p:sldLayoutId id="2147484542" r:id="rId471"/>
    <p:sldLayoutId id="2147484543" r:id="rId472"/>
    <p:sldLayoutId id="2147484544" r:id="rId473"/>
    <p:sldLayoutId id="2147484545" r:id="rId474"/>
    <p:sldLayoutId id="2147484546" r:id="rId475"/>
    <p:sldLayoutId id="2147484547" r:id="rId476"/>
    <p:sldLayoutId id="2147484548" r:id="rId477"/>
    <p:sldLayoutId id="2147484549" r:id="rId478"/>
    <p:sldLayoutId id="2147484550" r:id="rId479"/>
    <p:sldLayoutId id="2147484551" r:id="rId480"/>
    <p:sldLayoutId id="2147484552" r:id="rId481"/>
    <p:sldLayoutId id="2147484553" r:id="rId482"/>
    <p:sldLayoutId id="2147484554" r:id="rId483"/>
    <p:sldLayoutId id="2147484555" r:id="rId484"/>
    <p:sldLayoutId id="2147484556" r:id="rId485"/>
    <p:sldLayoutId id="2147484557" r:id="rId486"/>
    <p:sldLayoutId id="2147484558" r:id="rId487"/>
    <p:sldLayoutId id="2147486039" r:id="rId488"/>
    <p:sldLayoutId id="2147484560" r:id="rId489"/>
    <p:sldLayoutId id="2147484561" r:id="rId490"/>
    <p:sldLayoutId id="2147484562" r:id="rId491"/>
    <p:sldLayoutId id="2147484563" r:id="rId492"/>
    <p:sldLayoutId id="2147484564" r:id="rId493"/>
    <p:sldLayoutId id="2147484565" r:id="rId494"/>
    <p:sldLayoutId id="2147486081" r:id="rId495"/>
    <p:sldLayoutId id="2147484567" r:id="rId496"/>
    <p:sldLayoutId id="2147484568" r:id="rId497"/>
    <p:sldLayoutId id="2147484569" r:id="rId498"/>
    <p:sldLayoutId id="2147486106" r:id="rId499"/>
    <p:sldLayoutId id="2147484571" r:id="rId500"/>
    <p:sldLayoutId id="2147486144" r:id="rId501"/>
    <p:sldLayoutId id="2147484573" r:id="rId502"/>
    <p:sldLayoutId id="2147484574" r:id="rId503"/>
    <p:sldLayoutId id="2147484575" r:id="rId504"/>
    <p:sldLayoutId id="2147484576" r:id="rId505"/>
    <p:sldLayoutId id="2147484577" r:id="rId50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45" name="Google Shape;9445;p6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9446" name="Google Shape;9446;p6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447" name="Google Shape;9447;p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448" name="Google Shape;9448;p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4579" r:id="rId1"/>
    <p:sldLayoutId id="2147484580" r:id="rId2"/>
    <p:sldLayoutId id="2147484581" r:id="rId3"/>
    <p:sldLayoutId id="2147484582" r:id="rId4"/>
    <p:sldLayoutId id="2147484583" r:id="rId5"/>
    <p:sldLayoutId id="2147486108" r:id="rId6"/>
    <p:sldLayoutId id="2147486110" r:id="rId7"/>
    <p:sldLayoutId id="2147486111" r:id="rId8"/>
    <p:sldLayoutId id="2147486112" r:id="rId9"/>
    <p:sldLayoutId id="2147486113" r:id="rId10"/>
    <p:sldLayoutId id="2147484589" r:id="rId11"/>
    <p:sldLayoutId id="2147484590" r:id="rId12"/>
    <p:sldLayoutId id="2147484591" r:id="rId13"/>
    <p:sldLayoutId id="2147486114" r:id="rId14"/>
    <p:sldLayoutId id="2147486115" r:id="rId15"/>
    <p:sldLayoutId id="2147486116" r:id="rId16"/>
    <p:sldLayoutId id="2147486117" r:id="rId17"/>
    <p:sldLayoutId id="2147486031" r:id="rId18"/>
    <p:sldLayoutId id="2147484597" r:id="rId19"/>
    <p:sldLayoutId id="2147486032" r:id="rId20"/>
    <p:sldLayoutId id="2147484599" r:id="rId21"/>
    <p:sldLayoutId id="2147484600" r:id="rId22"/>
    <p:sldLayoutId id="2147486034" r:id="rId23"/>
    <p:sldLayoutId id="2147486035" r:id="rId24"/>
    <p:sldLayoutId id="2147486036" r:id="rId25"/>
    <p:sldLayoutId id="2147486037" r:id="rId26"/>
    <p:sldLayoutId id="2147484605" r:id="rId27"/>
    <p:sldLayoutId id="2147486080" r:id="rId28"/>
    <p:sldLayoutId id="2147484607" r:id="rId29"/>
    <p:sldLayoutId id="2147486142" r:id="rId30"/>
    <p:sldLayoutId id="2147486126" r:id="rId31"/>
    <p:sldLayoutId id="2147484610" r:id="rId32"/>
    <p:sldLayoutId id="2147484611" r:id="rId33"/>
    <p:sldLayoutId id="2147484612" r:id="rId34"/>
    <p:sldLayoutId id="2147484613" r:id="rId35"/>
    <p:sldLayoutId id="2147484614" r:id="rId36"/>
    <p:sldLayoutId id="2147484615" r:id="rId37"/>
    <p:sldLayoutId id="2147484616" r:id="rId38"/>
    <p:sldLayoutId id="2147484617" r:id="rId39"/>
    <p:sldLayoutId id="2147484618" r:id="rId40"/>
    <p:sldLayoutId id="2147484619" r:id="rId41"/>
    <p:sldLayoutId id="2147484620" r:id="rId42"/>
    <p:sldLayoutId id="2147484621" r:id="rId43"/>
    <p:sldLayoutId id="2147484622" r:id="rId44"/>
    <p:sldLayoutId id="2147484623" r:id="rId45"/>
    <p:sldLayoutId id="2147484624" r:id="rId46"/>
    <p:sldLayoutId id="2147484625" r:id="rId47"/>
    <p:sldLayoutId id="2147486033" r:id="rId48"/>
    <p:sldLayoutId id="2147486048" r:id="rId49"/>
    <p:sldLayoutId id="2147484628" r:id="rId50"/>
    <p:sldLayoutId id="2147484629" r:id="rId51"/>
    <p:sldLayoutId id="2147484630" r:id="rId52"/>
    <p:sldLayoutId id="2147484631" r:id="rId53"/>
    <p:sldLayoutId id="2147484632" r:id="rId54"/>
    <p:sldLayoutId id="2147484633" r:id="rId55"/>
    <p:sldLayoutId id="2147486049" r:id="rId56"/>
    <p:sldLayoutId id="2147486050" r:id="rId57"/>
    <p:sldLayoutId id="2147484636" r:id="rId58"/>
    <p:sldLayoutId id="2147484637" r:id="rId59"/>
    <p:sldLayoutId id="2147484638" r:id="rId60"/>
    <p:sldLayoutId id="2147484639" r:id="rId61"/>
    <p:sldLayoutId id="2147484640" r:id="rId62"/>
    <p:sldLayoutId id="2147484641" r:id="rId63"/>
    <p:sldLayoutId id="2147484642" r:id="rId64"/>
    <p:sldLayoutId id="2147484643" r:id="rId65"/>
    <p:sldLayoutId id="2147484644" r:id="rId66"/>
    <p:sldLayoutId id="2147484645" r:id="rId67"/>
    <p:sldLayoutId id="2147484646" r:id="rId68"/>
    <p:sldLayoutId id="2147484647" r:id="rId69"/>
    <p:sldLayoutId id="2147484648" r:id="rId70"/>
    <p:sldLayoutId id="2147484649" r:id="rId71"/>
    <p:sldLayoutId id="2147484650" r:id="rId72"/>
    <p:sldLayoutId id="2147484651" r:id="rId73"/>
    <p:sldLayoutId id="2147486138" r:id="rId74"/>
    <p:sldLayoutId id="2147486139" r:id="rId75"/>
    <p:sldLayoutId id="2147486140" r:id="rId76"/>
    <p:sldLayoutId id="2147486141" r:id="rId77"/>
    <p:sldLayoutId id="2147484656" r:id="rId78"/>
    <p:sldLayoutId id="2147484657" r:id="rId79"/>
    <p:sldLayoutId id="2147484658" r:id="rId80"/>
    <p:sldLayoutId id="2147484659" r:id="rId81"/>
    <p:sldLayoutId id="2147484660" r:id="rId82"/>
    <p:sldLayoutId id="2147484661" r:id="rId83"/>
    <p:sldLayoutId id="2147484662" r:id="rId84"/>
    <p:sldLayoutId id="2147484663" r:id="rId85"/>
    <p:sldLayoutId id="2147484664" r:id="rId86"/>
    <p:sldLayoutId id="2147484665" r:id="rId87"/>
    <p:sldLayoutId id="2147484666" r:id="rId88"/>
    <p:sldLayoutId id="2147484667" r:id="rId89"/>
    <p:sldLayoutId id="2147484668" r:id="rId90"/>
    <p:sldLayoutId id="2147484669" r:id="rId91"/>
    <p:sldLayoutId id="2147484670" r:id="rId92"/>
    <p:sldLayoutId id="2147484671" r:id="rId93"/>
    <p:sldLayoutId id="2147484672" r:id="rId94"/>
    <p:sldLayoutId id="2147484673" r:id="rId95"/>
    <p:sldLayoutId id="2147484674" r:id="rId96"/>
    <p:sldLayoutId id="2147484675" r:id="rId97"/>
    <p:sldLayoutId id="2147484676" r:id="rId98"/>
    <p:sldLayoutId id="2147484677" r:id="rId99"/>
    <p:sldLayoutId id="2147484678" r:id="rId100"/>
    <p:sldLayoutId id="2147484679" r:id="rId101"/>
    <p:sldLayoutId id="2147484680" r:id="rId102"/>
    <p:sldLayoutId id="2147484681" r:id="rId103"/>
    <p:sldLayoutId id="2147484682" r:id="rId104"/>
    <p:sldLayoutId id="2147484683" r:id="rId105"/>
    <p:sldLayoutId id="2147484684" r:id="rId106"/>
    <p:sldLayoutId id="2147484685" r:id="rId107"/>
    <p:sldLayoutId id="2147484686" r:id="rId108"/>
    <p:sldLayoutId id="2147484687" r:id="rId109"/>
    <p:sldLayoutId id="2147484688" r:id="rId110"/>
    <p:sldLayoutId id="2147484689" r:id="rId111"/>
    <p:sldLayoutId id="2147484690" r:id="rId112"/>
    <p:sldLayoutId id="2147484691" r:id="rId113"/>
    <p:sldLayoutId id="2147484692" r:id="rId114"/>
    <p:sldLayoutId id="2147484693" r:id="rId115"/>
    <p:sldLayoutId id="2147484694" r:id="rId116"/>
    <p:sldLayoutId id="2147484695" r:id="rId117"/>
    <p:sldLayoutId id="2147484696" r:id="rId118"/>
    <p:sldLayoutId id="2147484697" r:id="rId119"/>
    <p:sldLayoutId id="2147484698" r:id="rId120"/>
    <p:sldLayoutId id="2147484699" r:id="rId121"/>
    <p:sldLayoutId id="2147484700" r:id="rId122"/>
    <p:sldLayoutId id="2147484701" r:id="rId123"/>
    <p:sldLayoutId id="2147484702" r:id="rId124"/>
    <p:sldLayoutId id="2147484703" r:id="rId125"/>
    <p:sldLayoutId id="2147484704" r:id="rId126"/>
    <p:sldLayoutId id="2147484705" r:id="rId127"/>
    <p:sldLayoutId id="2147484706" r:id="rId128"/>
    <p:sldLayoutId id="2147484707" r:id="rId129"/>
    <p:sldLayoutId id="2147484708" r:id="rId130"/>
    <p:sldLayoutId id="2147484709" r:id="rId131"/>
    <p:sldLayoutId id="2147484710" r:id="rId132"/>
    <p:sldLayoutId id="2147484711" r:id="rId133"/>
    <p:sldLayoutId id="2147484712" r:id="rId134"/>
    <p:sldLayoutId id="2147484713" r:id="rId135"/>
    <p:sldLayoutId id="2147484714" r:id="rId136"/>
    <p:sldLayoutId id="2147484715" r:id="rId137"/>
    <p:sldLayoutId id="2147484716" r:id="rId138"/>
    <p:sldLayoutId id="2147484717" r:id="rId139"/>
    <p:sldLayoutId id="2147484718" r:id="rId140"/>
    <p:sldLayoutId id="2147484719" r:id="rId141"/>
    <p:sldLayoutId id="2147484720" r:id="rId142"/>
    <p:sldLayoutId id="2147484721" r:id="rId143"/>
    <p:sldLayoutId id="2147484722" r:id="rId144"/>
    <p:sldLayoutId id="2147484723" r:id="rId145"/>
    <p:sldLayoutId id="2147484724" r:id="rId146"/>
    <p:sldLayoutId id="2147484725" r:id="rId147"/>
    <p:sldLayoutId id="2147484726" r:id="rId148"/>
    <p:sldLayoutId id="2147484727" r:id="rId14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109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33" name="Google Shape;10933;p6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934" name="Google Shape;10934;p66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935" name="Google Shape;10935;p6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4729" r:id="rId1"/>
    <p:sldLayoutId id="2147484730" r:id="rId2"/>
    <p:sldLayoutId id="2147484731" r:id="rId3"/>
    <p:sldLayoutId id="2147484732" r:id="rId4"/>
    <p:sldLayoutId id="2147484733" r:id="rId5"/>
    <p:sldLayoutId id="2147484734" r:id="rId6"/>
    <p:sldLayoutId id="2147484735" r:id="rId7"/>
    <p:sldLayoutId id="2147484736" r:id="rId8"/>
    <p:sldLayoutId id="2147484737" r:id="rId9"/>
    <p:sldLayoutId id="2147484738" r:id="rId10"/>
    <p:sldLayoutId id="2147484739" r:id="rId11"/>
    <p:sldLayoutId id="2147484740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43894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4" r:id="rId1"/>
    <p:sldLayoutId id="2147485075" r:id="rId2"/>
    <p:sldLayoutId id="2147485076" r:id="rId3"/>
    <p:sldLayoutId id="2147485077" r:id="rId4"/>
    <p:sldLayoutId id="2147485078" r:id="rId5"/>
    <p:sldLayoutId id="2147485079" r:id="rId6"/>
    <p:sldLayoutId id="2147485080" r:id="rId7"/>
    <p:sldLayoutId id="2147485081" r:id="rId8"/>
    <p:sldLayoutId id="2147485082" r:id="rId9"/>
    <p:sldLayoutId id="2147485083" r:id="rId10"/>
    <p:sldLayoutId id="2147484596" r:id="rId11"/>
    <p:sldLayoutId id="2147484835" r:id="rId12"/>
    <p:sldLayoutId id="2147484598" r:id="rId13"/>
    <p:sldLayoutId id="2147484626" r:id="rId14"/>
    <p:sldLayoutId id="2147484836" r:id="rId15"/>
    <p:sldLayoutId id="2147484837" r:id="rId16"/>
    <p:sldLayoutId id="2147484601" r:id="rId17"/>
    <p:sldLayoutId id="2147484602" r:id="rId18"/>
    <p:sldLayoutId id="2147484603" r:id="rId19"/>
    <p:sldLayoutId id="2147484604" r:id="rId20"/>
    <p:sldLayoutId id="2147484839" r:id="rId21"/>
    <p:sldLayoutId id="2147485847" r:id="rId22"/>
    <p:sldLayoutId id="2147485848" r:id="rId23"/>
    <p:sldLayoutId id="2147485849" r:id="rId24"/>
    <p:sldLayoutId id="2147485850" r:id="rId25"/>
    <p:sldLayoutId id="2147485851" r:id="rId26"/>
    <p:sldLayoutId id="2147485852" r:id="rId27"/>
    <p:sldLayoutId id="2147485853" r:id="rId28"/>
    <p:sldLayoutId id="2147485854" r:id="rId29"/>
    <p:sldLayoutId id="2147485855" r:id="rId30"/>
    <p:sldLayoutId id="2147485856" r:id="rId31"/>
    <p:sldLayoutId id="2147484384" r:id="rId32"/>
    <p:sldLayoutId id="2147485405" r:id="rId33"/>
    <p:sldLayoutId id="2147484559" r:id="rId34"/>
    <p:sldLayoutId id="2147484385" r:id="rId35"/>
    <p:sldLayoutId id="2147485406" r:id="rId36"/>
    <p:sldLayoutId id="2147484387" r:id="rId37"/>
    <p:sldLayoutId id="2147484388" r:id="rId38"/>
    <p:sldLayoutId id="2147484389" r:id="rId39"/>
    <p:sldLayoutId id="2147484390" r:id="rId40"/>
    <p:sldLayoutId id="2147484391" r:id="rId41"/>
    <p:sldLayoutId id="2147484392" r:id="rId42"/>
    <p:sldLayoutId id="2147484353" r:id="rId43"/>
    <p:sldLayoutId id="2147484627" r:id="rId44"/>
    <p:sldLayoutId id="2147485879" r:id="rId45"/>
    <p:sldLayoutId id="2147484838" r:id="rId46"/>
    <p:sldLayoutId id="2147485857" r:id="rId47"/>
    <p:sldLayoutId id="2147485858" r:id="rId48"/>
    <p:sldLayoutId id="2147485859" r:id="rId49"/>
    <p:sldLayoutId id="2147485860" r:id="rId50"/>
    <p:sldLayoutId id="2147485861" r:id="rId51"/>
    <p:sldLayoutId id="2147484634" r:id="rId52"/>
    <p:sldLayoutId id="2147484635" r:id="rId53"/>
    <p:sldLayoutId id="2147484238" r:id="rId54"/>
    <p:sldLayoutId id="2147484200" r:id="rId55"/>
    <p:sldLayoutId id="2147484840" r:id="rId56"/>
    <p:sldLayoutId id="2147484202" r:id="rId57"/>
    <p:sldLayoutId id="2147484203" r:id="rId58"/>
    <p:sldLayoutId id="2147484204" r:id="rId59"/>
    <p:sldLayoutId id="2147484205" r:id="rId60"/>
    <p:sldLayoutId id="2147484206" r:id="rId61"/>
    <p:sldLayoutId id="2147484237" r:id="rId62"/>
    <p:sldLayoutId id="2147484208" r:id="rId63"/>
    <p:sldLayoutId id="2147485064" r:id="rId64"/>
    <p:sldLayoutId id="2147485065" r:id="rId65"/>
    <p:sldLayoutId id="2147486243" r:id="rId66"/>
    <p:sldLayoutId id="2147485066" r:id="rId67"/>
    <p:sldLayoutId id="2147485067" r:id="rId68"/>
    <p:sldLayoutId id="2147485068" r:id="rId69"/>
    <p:sldLayoutId id="2147485069" r:id="rId70"/>
    <p:sldLayoutId id="2147485352" r:id="rId71"/>
    <p:sldLayoutId id="2147485070" r:id="rId72"/>
    <p:sldLayoutId id="2147486030" r:id="rId73"/>
    <p:sldLayoutId id="2147485071" r:id="rId74"/>
    <p:sldLayoutId id="2147485862" r:id="rId75"/>
    <p:sldLayoutId id="2147485863" r:id="rId76"/>
    <p:sldLayoutId id="2147485864" r:id="rId77"/>
    <p:sldLayoutId id="2147484841" r:id="rId78"/>
    <p:sldLayoutId id="2147484842" r:id="rId79"/>
    <p:sldLayoutId id="2147484362" r:id="rId80"/>
    <p:sldLayoutId id="2147484363" r:id="rId81"/>
    <p:sldLayoutId id="2147485866" r:id="rId82"/>
    <p:sldLayoutId id="2147484365" r:id="rId83"/>
    <p:sldLayoutId id="2147484366" r:id="rId84"/>
    <p:sldLayoutId id="2147484367" r:id="rId85"/>
    <p:sldLayoutId id="2147485881" r:id="rId86"/>
    <p:sldLayoutId id="2147484351" r:id="rId87"/>
    <p:sldLayoutId id="2147484350" r:id="rId88"/>
    <p:sldLayoutId id="2147484352" r:id="rId89"/>
    <p:sldLayoutId id="2147484829" r:id="rId90"/>
    <p:sldLayoutId id="2147484830" r:id="rId91"/>
    <p:sldLayoutId id="2147484831" r:id="rId92"/>
    <p:sldLayoutId id="2147484843" r:id="rId93"/>
    <p:sldLayoutId id="2147485262" r:id="rId94"/>
    <p:sldLayoutId id="2147484832" r:id="rId95"/>
    <p:sldLayoutId id="2147484355" r:id="rId96"/>
    <p:sldLayoutId id="2147485444" r:id="rId97"/>
    <p:sldLayoutId id="2147484356" r:id="rId98"/>
    <p:sldLayoutId id="2147483885" r:id="rId99"/>
    <p:sldLayoutId id="2147484357" r:id="rId100"/>
    <p:sldLayoutId id="2147484358" r:id="rId101"/>
    <p:sldLayoutId id="2147484359" r:id="rId102"/>
    <p:sldLayoutId id="2147484360" r:id="rId103"/>
    <p:sldLayoutId id="2147484361" r:id="rId104"/>
    <p:sldLayoutId id="2147484393" r:id="rId105"/>
    <p:sldLayoutId id="2147484394" r:id="rId106"/>
    <p:sldLayoutId id="2147485093" r:id="rId107"/>
    <p:sldLayoutId id="2147486183" r:id="rId108"/>
    <p:sldLayoutId id="2147485072" r:id="rId109"/>
    <p:sldLayoutId id="2147485355" r:id="rId110"/>
    <p:sldLayoutId id="2147484606" r:id="rId111"/>
    <p:sldLayoutId id="2147484845" r:id="rId112"/>
    <p:sldLayoutId id="2147484846" r:id="rId113"/>
    <p:sldLayoutId id="2147484566" r:id="rId114"/>
    <p:sldLayoutId id="2147485470" r:id="rId115"/>
    <p:sldLayoutId id="2147484231" r:id="rId116"/>
    <p:sldLayoutId id="2147484268" r:id="rId117"/>
    <p:sldLayoutId id="2147484235" r:id="rId118"/>
    <p:sldLayoutId id="2147484847" r:id="rId119"/>
    <p:sldLayoutId id="2147484245" r:id="rId120"/>
    <p:sldLayoutId id="2147484262" r:id="rId121"/>
    <p:sldLayoutId id="2147483719" r:id="rId122"/>
    <p:sldLayoutId id="2147485238" r:id="rId123"/>
    <p:sldLayoutId id="2147483721" r:id="rId124"/>
    <p:sldLayoutId id="2147484233" r:id="rId125"/>
    <p:sldLayoutId id="2147484821" r:id="rId126"/>
    <p:sldLayoutId id="2147483716" r:id="rId127"/>
    <p:sldLayoutId id="2147485239" r:id="rId128"/>
    <p:sldLayoutId id="2147484848" r:id="rId129"/>
    <p:sldLayoutId id="2147483717" r:id="rId130"/>
    <p:sldLayoutId id="2147483718" r:id="rId131"/>
    <p:sldLayoutId id="2147484400" r:id="rId132"/>
    <p:sldLayoutId id="2147484401" r:id="rId133"/>
    <p:sldLayoutId id="2147484402" r:id="rId134"/>
    <p:sldLayoutId id="2147484822" r:id="rId135"/>
    <p:sldLayoutId id="2147484849" r:id="rId136"/>
    <p:sldLayoutId id="2147484850" r:id="rId137"/>
    <p:sldLayoutId id="2147484851" r:id="rId138"/>
    <p:sldLayoutId id="2147484335" r:id="rId139"/>
    <p:sldLayoutId id="2147484336" r:id="rId140"/>
    <p:sldLayoutId id="2147484337" r:id="rId141"/>
    <p:sldLayoutId id="2147484852" r:id="rId142"/>
    <p:sldLayoutId id="2147484853" r:id="rId143"/>
    <p:sldLayoutId id="2147484339" r:id="rId144"/>
    <p:sldLayoutId id="2147484340" r:id="rId145"/>
    <p:sldLayoutId id="2147484341" r:id="rId146"/>
    <p:sldLayoutId id="2147484342" r:id="rId147"/>
    <p:sldLayoutId id="2147484343" r:id="rId148"/>
    <p:sldLayoutId id="2147484344" r:id="rId149"/>
    <p:sldLayoutId id="2147485468" r:id="rId150"/>
    <p:sldLayoutId id="2147485865" r:id="rId151"/>
    <p:sldLayoutId id="2147484364" r:id="rId152"/>
    <p:sldLayoutId id="2147485358" r:id="rId153"/>
    <p:sldLayoutId id="2147485868" r:id="rId154"/>
    <p:sldLayoutId id="2147485869" r:id="rId155"/>
    <p:sldLayoutId id="2147485870" r:id="rId156"/>
    <p:sldLayoutId id="2147485385" r:id="rId157"/>
    <p:sldLayoutId id="2147485871" r:id="rId158"/>
    <p:sldLayoutId id="2147485469" r:id="rId159"/>
    <p:sldLayoutId id="2147484570" r:id="rId160"/>
    <p:sldLayoutId id="2147484222" r:id="rId161"/>
    <p:sldLayoutId id="2147484854" r:id="rId162"/>
    <p:sldLayoutId id="2147484855" r:id="rId163"/>
    <p:sldLayoutId id="2147484584" r:id="rId164"/>
    <p:sldLayoutId id="2147483868" r:id="rId165"/>
    <p:sldLayoutId id="2147484585" r:id="rId166"/>
    <p:sldLayoutId id="2147484586" r:id="rId167"/>
    <p:sldLayoutId id="2147484587" r:id="rId168"/>
    <p:sldLayoutId id="2147484588" r:id="rId169"/>
    <p:sldLayoutId id="2147484592" r:id="rId170"/>
    <p:sldLayoutId id="2147484593" r:id="rId171"/>
    <p:sldLayoutId id="2147484594" r:id="rId172"/>
    <p:sldLayoutId id="2147484595" r:id="rId173"/>
    <p:sldLayoutId id="2147485370" r:id="rId174"/>
    <p:sldLayoutId id="2147485872" r:id="rId175"/>
    <p:sldLayoutId id="2147486178" r:id="rId176"/>
    <p:sldLayoutId id="2147485367" r:id="rId177"/>
    <p:sldLayoutId id="2147485368" r:id="rId178"/>
    <p:sldLayoutId id="2147485369" r:id="rId179"/>
    <p:sldLayoutId id="2147485400" r:id="rId180"/>
    <p:sldLayoutId id="2147485401" r:id="rId181"/>
    <p:sldLayoutId id="2147485402" r:id="rId182"/>
    <p:sldLayoutId id="2147485403" r:id="rId183"/>
    <p:sldLayoutId id="2147484813" r:id="rId184"/>
    <p:sldLayoutId id="2147484386" r:id="rId185"/>
    <p:sldLayoutId id="2147484815" r:id="rId186"/>
    <p:sldLayoutId id="2147484816" r:id="rId187"/>
    <p:sldLayoutId id="2147484817" r:id="rId188"/>
    <p:sldLayoutId id="2147484329" r:id="rId189"/>
    <p:sldLayoutId id="2147484330" r:id="rId190"/>
    <p:sldLayoutId id="2147484331" r:id="rId191"/>
    <p:sldLayoutId id="2147484332" r:id="rId192"/>
    <p:sldLayoutId id="2147484485" r:id="rId193"/>
    <p:sldLayoutId id="2147484486" r:id="rId194"/>
    <p:sldLayoutId id="2147484609" r:id="rId195"/>
    <p:sldLayoutId id="2147484477" r:id="rId196"/>
    <p:sldLayoutId id="2147484478" r:id="rId197"/>
    <p:sldLayoutId id="2147484260" r:id="rId198"/>
    <p:sldLayoutId id="2147484856" r:id="rId199"/>
    <p:sldLayoutId id="2147484480" r:id="rId200"/>
    <p:sldLayoutId id="2147484267" r:id="rId201"/>
    <p:sldLayoutId id="2147484481" r:id="rId202"/>
    <p:sldLayoutId id="2147484482" r:id="rId203"/>
    <p:sldLayoutId id="2147484483" r:id="rId204"/>
    <p:sldLayoutId id="2147484484" r:id="rId205"/>
    <p:sldLayoutId id="2147485270" r:id="rId206"/>
    <p:sldLayoutId id="2147485271" r:id="rId207"/>
    <p:sldLayoutId id="2147485272" r:id="rId208"/>
    <p:sldLayoutId id="2147484857" r:id="rId209"/>
    <p:sldLayoutId id="2147485273" r:id="rId210"/>
    <p:sldLayoutId id="2147485274" r:id="rId211"/>
    <p:sldLayoutId id="2147485275" r:id="rId212"/>
    <p:sldLayoutId id="2147485276" r:id="rId213"/>
    <p:sldLayoutId id="2147485277" r:id="rId214"/>
    <p:sldLayoutId id="2147485278" r:id="rId215"/>
    <p:sldLayoutId id="2147483877" r:id="rId216"/>
    <p:sldLayoutId id="2147483878" r:id="rId217"/>
    <p:sldLayoutId id="2147484652" r:id="rId218"/>
    <p:sldLayoutId id="2147484653" r:id="rId219"/>
    <p:sldLayoutId id="2147485877" r:id="rId220"/>
    <p:sldLayoutId id="2147485878" r:id="rId221"/>
    <p:sldLayoutId id="2147484654" r:id="rId222"/>
    <p:sldLayoutId id="2147484655" r:id="rId223"/>
    <p:sldLayoutId id="2147484608" r:id="rId224"/>
    <p:sldLayoutId id="2147485213" r:id="rId225"/>
    <p:sldLayoutId id="2147485214" r:id="rId226"/>
    <p:sldLayoutId id="2147485179" r:id="rId227"/>
    <p:sldLayoutId id="2147485354" r:id="rId228"/>
    <p:sldLayoutId id="2147485215" r:id="rId229"/>
    <p:sldLayoutId id="2147485425" r:id="rId230"/>
    <p:sldLayoutId id="2147485903" r:id="rId231"/>
    <p:sldLayoutId id="2147485904" r:id="rId232"/>
    <p:sldLayoutId id="2147484354" r:id="rId233"/>
    <p:sldLayoutId id="2147484572" r:id="rId234"/>
    <p:sldLayoutId id="2147485391" r:id="rId235"/>
    <p:sldLayoutId id="2147485392" r:id="rId236"/>
    <p:sldLayoutId id="2147484376" r:id="rId237"/>
    <p:sldLayoutId id="2147485905" r:id="rId238"/>
    <p:sldLayoutId id="2147485906" r:id="rId239"/>
    <p:sldLayoutId id="2147485880" r:id="rId240"/>
    <p:sldLayoutId id="2147485393" r:id="rId241"/>
    <p:sldLayoutId id="2147485394" r:id="rId242"/>
    <p:sldLayoutId id="2147485395" r:id="rId243"/>
    <p:sldLayoutId id="2147484377" r:id="rId244"/>
    <p:sldLayoutId id="2147484378" r:id="rId245"/>
    <p:sldLayoutId id="2147484379" r:id="rId246"/>
    <p:sldLayoutId id="2147485396" r:id="rId24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6150" r:id="rId1"/>
    <p:sldLayoutId id="2147486151" r:id="rId2"/>
    <p:sldLayoutId id="2147486152" r:id="rId3"/>
    <p:sldLayoutId id="2147486153" r:id="rId4"/>
    <p:sldLayoutId id="2147486154" r:id="rId5"/>
    <p:sldLayoutId id="2147486155" r:id="rId6"/>
    <p:sldLayoutId id="2147486156" r:id="rId7"/>
    <p:sldLayoutId id="2147486157" r:id="rId8"/>
    <p:sldLayoutId id="2147486158" r:id="rId9"/>
    <p:sldLayoutId id="2147486159" r:id="rId10"/>
    <p:sldLayoutId id="2147486160" r:id="rId11"/>
    <p:sldLayoutId id="2147486161" r:id="rId12"/>
    <p:sldLayoutId id="2147486162" r:id="rId13"/>
    <p:sldLayoutId id="2147486163" r:id="rId14"/>
    <p:sldLayoutId id="2147486164" r:id="rId15"/>
    <p:sldLayoutId id="2147486165" r:id="rId16"/>
    <p:sldLayoutId id="2147486166" r:id="rId17"/>
    <p:sldLayoutId id="2147486167" r:id="rId18"/>
    <p:sldLayoutId id="2147486168" r:id="rId19"/>
    <p:sldLayoutId id="2147486169" r:id="rId20"/>
    <p:sldLayoutId id="2147486170" r:id="rId21"/>
    <p:sldLayoutId id="2147486171" r:id="rId22"/>
    <p:sldLayoutId id="2147486172" r:id="rId23"/>
    <p:sldLayoutId id="2147486173" r:id="rId24"/>
    <p:sldLayoutId id="2147486174" r:id="rId25"/>
    <p:sldLayoutId id="2147486175" r:id="rId26"/>
    <p:sldLayoutId id="2147486176" r:id="rId27"/>
    <p:sldLayoutId id="2147486177" r:id="rId28"/>
    <p:sldLayoutId id="2147483676" r:id="rId29"/>
    <p:sldLayoutId id="2147486179" r:id="rId30"/>
    <p:sldLayoutId id="2147486180" r:id="rId31"/>
    <p:sldLayoutId id="2147486181" r:id="rId32"/>
    <p:sldLayoutId id="2147486182" r:id="rId33"/>
    <p:sldLayoutId id="2147483681" r:id="rId34"/>
    <p:sldLayoutId id="2147486184" r:id="rId35"/>
    <p:sldLayoutId id="2147486185" r:id="rId36"/>
    <p:sldLayoutId id="2147486186" r:id="rId37"/>
    <p:sldLayoutId id="2147486187" r:id="rId38"/>
    <p:sldLayoutId id="2147486188" r:id="rId39"/>
    <p:sldLayoutId id="2147486189" r:id="rId40"/>
    <p:sldLayoutId id="2147486190" r:id="rId41"/>
    <p:sldLayoutId id="2147486191" r:id="rId42"/>
    <p:sldLayoutId id="2147486192" r:id="rId43"/>
    <p:sldLayoutId id="2147486193" r:id="rId44"/>
    <p:sldLayoutId id="2147486194" r:id="rId45"/>
    <p:sldLayoutId id="2147486195" r:id="rId46"/>
    <p:sldLayoutId id="2147486196" r:id="rId47"/>
    <p:sldLayoutId id="2147486197" r:id="rId48"/>
    <p:sldLayoutId id="2147486198" r:id="rId49"/>
    <p:sldLayoutId id="2147486199" r:id="rId50"/>
    <p:sldLayoutId id="2147486200" r:id="rId51"/>
    <p:sldLayoutId id="2147486201" r:id="rId52"/>
    <p:sldLayoutId id="2147486202" r:id="rId53"/>
    <p:sldLayoutId id="2147486203" r:id="rId54"/>
    <p:sldLayoutId id="2147486204" r:id="rId55"/>
    <p:sldLayoutId id="2147486205" r:id="rId56"/>
    <p:sldLayoutId id="2147486206" r:id="rId57"/>
    <p:sldLayoutId id="2147486207" r:id="rId58"/>
    <p:sldLayoutId id="2147486208" r:id="rId59"/>
    <p:sldLayoutId id="2147486209" r:id="rId60"/>
    <p:sldLayoutId id="2147486210" r:id="rId61"/>
    <p:sldLayoutId id="2147486211" r:id="rId62"/>
    <p:sldLayoutId id="2147486212" r:id="rId63"/>
    <p:sldLayoutId id="2147486213" r:id="rId64"/>
    <p:sldLayoutId id="2147486214" r:id="rId65"/>
    <p:sldLayoutId id="2147486215" r:id="rId66"/>
    <p:sldLayoutId id="2147486216" r:id="rId67"/>
    <p:sldLayoutId id="2147486217" r:id="rId68"/>
    <p:sldLayoutId id="2147486218" r:id="rId69"/>
    <p:sldLayoutId id="2147486219" r:id="rId70"/>
    <p:sldLayoutId id="2147486220" r:id="rId71"/>
    <p:sldLayoutId id="2147486221" r:id="rId72"/>
    <p:sldLayoutId id="2147486222" r:id="rId73"/>
    <p:sldLayoutId id="2147486223" r:id="rId74"/>
    <p:sldLayoutId id="2147486224" r:id="rId75"/>
    <p:sldLayoutId id="2147486225" r:id="rId76"/>
    <p:sldLayoutId id="2147486226" r:id="rId77"/>
    <p:sldLayoutId id="2147486227" r:id="rId78"/>
    <p:sldLayoutId id="2147486228" r:id="rId79"/>
    <p:sldLayoutId id="2147486229" r:id="rId80"/>
    <p:sldLayoutId id="2147486230" r:id="rId81"/>
    <p:sldLayoutId id="2147486231" r:id="rId82"/>
    <p:sldLayoutId id="2147486232" r:id="rId83"/>
    <p:sldLayoutId id="2147486233" r:id="rId84"/>
    <p:sldLayoutId id="2147486234" r:id="rId85"/>
    <p:sldLayoutId id="2147486235" r:id="rId86"/>
    <p:sldLayoutId id="2147486236" r:id="rId87"/>
    <p:sldLayoutId id="2147486237" r:id="rId88"/>
    <p:sldLayoutId id="2147486238" r:id="rId89"/>
    <p:sldLayoutId id="2147486239" r:id="rId90"/>
    <p:sldLayoutId id="2147486240" r:id="rId91"/>
    <p:sldLayoutId id="2147486241" r:id="rId92"/>
    <p:sldLayoutId id="2147486242" r:id="rId93"/>
    <p:sldLayoutId id="2147483741" r:id="rId94"/>
    <p:sldLayoutId id="2147486244" r:id="rId95"/>
    <p:sldLayoutId id="2147486245" r:id="rId96"/>
    <p:sldLayoutId id="2147486246" r:id="rId97"/>
    <p:sldLayoutId id="2147486247" r:id="rId98"/>
    <p:sldLayoutId id="2147486248" r:id="rId99"/>
    <p:sldLayoutId id="2147486249" r:id="rId100"/>
    <p:sldLayoutId id="2147486250" r:id="rId101"/>
    <p:sldLayoutId id="2147486251" r:id="rId102"/>
    <p:sldLayoutId id="2147486252" r:id="rId103"/>
    <p:sldLayoutId id="2147486253" r:id="rId104"/>
    <p:sldLayoutId id="2147486254" r:id="rId105"/>
    <p:sldLayoutId id="2147486255" r:id="rId106"/>
    <p:sldLayoutId id="2147486256" r:id="rId107"/>
    <p:sldLayoutId id="2147486257" r:id="rId108"/>
    <p:sldLayoutId id="2147486258" r:id="rId109"/>
    <p:sldLayoutId id="2147486259" r:id="rId110"/>
    <p:sldLayoutId id="2147486260" r:id="rId111"/>
    <p:sldLayoutId id="2147486261" r:id="rId112"/>
    <p:sldLayoutId id="2147486262" r:id="rId113"/>
    <p:sldLayoutId id="2147486263" r:id="rId114"/>
    <p:sldLayoutId id="2147486264" r:id="rId115"/>
    <p:sldLayoutId id="2147486265" r:id="rId116"/>
    <p:sldLayoutId id="2147486266" r:id="rId117"/>
    <p:sldLayoutId id="2147486267" r:id="rId118"/>
    <p:sldLayoutId id="2147486268" r:id="rId119"/>
    <p:sldLayoutId id="2147486269" r:id="rId120"/>
    <p:sldLayoutId id="2147486270" r:id="rId121"/>
    <p:sldLayoutId id="2147486271" r:id="rId122"/>
    <p:sldLayoutId id="2147486272" r:id="rId123"/>
    <p:sldLayoutId id="2147486273" r:id="rId124"/>
    <p:sldLayoutId id="2147486274" r:id="rId125"/>
    <p:sldLayoutId id="2147486275" r:id="rId126"/>
    <p:sldLayoutId id="2147486276" r:id="rId127"/>
    <p:sldLayoutId id="2147486277" r:id="rId128"/>
    <p:sldLayoutId id="2147486278" r:id="rId129"/>
    <p:sldLayoutId id="2147486279" r:id="rId130"/>
    <p:sldLayoutId id="2147486280" r:id="rId131"/>
    <p:sldLayoutId id="2147486281" r:id="rId132"/>
    <p:sldLayoutId id="2147486282" r:id="rId133"/>
    <p:sldLayoutId id="2147486283" r:id="rId134"/>
    <p:sldLayoutId id="2147486284" r:id="rId135"/>
    <p:sldLayoutId id="2147486285" r:id="rId136"/>
    <p:sldLayoutId id="2147486286" r:id="rId137"/>
    <p:sldLayoutId id="2147486287" r:id="rId138"/>
    <p:sldLayoutId id="2147486288" r:id="rId139"/>
    <p:sldLayoutId id="2147486289" r:id="rId140"/>
    <p:sldLayoutId id="2147486290" r:id="rId141"/>
    <p:sldLayoutId id="2147486291" r:id="rId142"/>
    <p:sldLayoutId id="2147486292" r:id="rId143"/>
    <p:sldLayoutId id="2147486293" r:id="rId144"/>
    <p:sldLayoutId id="2147486294" r:id="rId145"/>
    <p:sldLayoutId id="2147486295" r:id="rId146"/>
    <p:sldLayoutId id="2147486296" r:id="rId147"/>
    <p:sldLayoutId id="2147486297" r:id="rId148"/>
    <p:sldLayoutId id="2147486298" r:id="rId149"/>
    <p:sldLayoutId id="2147486299" r:id="rId150"/>
    <p:sldLayoutId id="2147486300" r:id="rId151"/>
    <p:sldLayoutId id="2147486301" r:id="rId152"/>
    <p:sldLayoutId id="2147486302" r:id="rId153"/>
    <p:sldLayoutId id="2147486303" r:id="rId154"/>
    <p:sldLayoutId id="2147486304" r:id="rId155"/>
    <p:sldLayoutId id="2147486305" r:id="rId156"/>
    <p:sldLayoutId id="2147486306" r:id="rId157"/>
    <p:sldLayoutId id="2147486307" r:id="rId158"/>
    <p:sldLayoutId id="2147486308" r:id="rId159"/>
    <p:sldLayoutId id="2147486309" r:id="rId160"/>
    <p:sldLayoutId id="2147486310" r:id="rId161"/>
    <p:sldLayoutId id="2147486311" r:id="rId162"/>
    <p:sldLayoutId id="2147486312" r:id="rId163"/>
    <p:sldLayoutId id="2147486313" r:id="rId164"/>
    <p:sldLayoutId id="2147486314" r:id="rId165"/>
    <p:sldLayoutId id="2147486315" r:id="rId166"/>
    <p:sldLayoutId id="2147486316" r:id="rId167"/>
    <p:sldLayoutId id="2147486317" r:id="rId168"/>
    <p:sldLayoutId id="2147486318" r:id="rId169"/>
    <p:sldLayoutId id="2147486319" r:id="rId170"/>
    <p:sldLayoutId id="2147486320" r:id="rId171"/>
    <p:sldLayoutId id="2147486321" r:id="rId172"/>
    <p:sldLayoutId id="2147486322" r:id="rId173"/>
    <p:sldLayoutId id="2147486323" r:id="rId174"/>
    <p:sldLayoutId id="2147486324" r:id="rId175"/>
    <p:sldLayoutId id="2147486325" r:id="rId176"/>
    <p:sldLayoutId id="2147486326" r:id="rId177"/>
    <p:sldLayoutId id="2147486327" r:id="rId178"/>
    <p:sldLayoutId id="2147486328" r:id="rId179"/>
    <p:sldLayoutId id="2147486329" r:id="rId180"/>
    <p:sldLayoutId id="2147486330" r:id="rId181"/>
    <p:sldLayoutId id="2147486331" r:id="rId182"/>
    <p:sldLayoutId id="2147486332" r:id="rId183"/>
    <p:sldLayoutId id="2147486333" r:id="rId184"/>
    <p:sldLayoutId id="2147486334" r:id="rId185"/>
    <p:sldLayoutId id="2147486335" r:id="rId186"/>
    <p:sldLayoutId id="2147486336" r:id="rId187"/>
    <p:sldLayoutId id="2147486337" r:id="rId188"/>
    <p:sldLayoutId id="2147486338" r:id="rId189"/>
    <p:sldLayoutId id="2147486339" r:id="rId190"/>
    <p:sldLayoutId id="2147486340" r:id="rId191"/>
    <p:sldLayoutId id="2147486341" r:id="rId192"/>
    <p:sldLayoutId id="2147486342" r:id="rId193"/>
    <p:sldLayoutId id="2147486343" r:id="rId194"/>
    <p:sldLayoutId id="2147486344" r:id="rId195"/>
    <p:sldLayoutId id="2147486345" r:id="rId196"/>
    <p:sldLayoutId id="2147486346" r:id="rId19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7A4A891-92BD-8240-B8C1-F6C8AB9E42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7060" y="456085"/>
            <a:ext cx="9356368" cy="390523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545E5F-B0CD-8940-8C99-2737B49D59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35553" y="1379105"/>
            <a:ext cx="9337875" cy="4866717"/>
          </a:xfrm>
          <a:prstGeom prst="rect">
            <a:avLst/>
          </a:prstGeom>
        </p:spPr>
        <p:txBody>
          <a:bodyPr vert="horz" lIns="0" tIns="0" rIns="91440" bIns="0" rtlCol="0">
            <a:normAutofit/>
          </a:bodyPr>
          <a:lstStyle/>
          <a:p>
            <a:pPr lvl="0"/>
            <a:r>
              <a:rPr lang="en-US" dirty="0"/>
              <a:t>Click to edit master text and other stuff that goes here </a:t>
            </a:r>
          </a:p>
          <a:p>
            <a:pPr lvl="1"/>
            <a:r>
              <a:rPr lang="en-US" dirty="0"/>
              <a:t>Second level and some more stuff that goes on until we reach a second line</a:t>
            </a:r>
          </a:p>
          <a:p>
            <a:pPr lvl="2"/>
            <a:r>
              <a:rPr lang="en-US" dirty="0"/>
              <a:t>Third level and some more stuff that goes on until we reach a second line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794D1C-9BB7-6947-B0BC-FCC1B9E9A6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17439" y="6356368"/>
            <a:ext cx="53923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1">
                    <a:tint val="75000"/>
                  </a:schemeClr>
                </a:solidFill>
                <a:latin typeface="Metropolis" pitchFamily="2" charset="77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475685-D08C-EF45-9ED7-3B8353EB6A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72863" y="63563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0" i="0">
                <a:solidFill>
                  <a:schemeClr val="accent5"/>
                </a:solidFill>
                <a:latin typeface="Metropolis" pitchFamily="2" charset="77"/>
              </a:defRPr>
            </a:lvl1pPr>
          </a:lstStyle>
          <a:p>
            <a:fld id="{96ACBB43-5C7B-084B-877B-5EF9093130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5731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27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i="0" kern="1200" spc="200" baseline="0">
          <a:solidFill>
            <a:schemeClr val="bg1">
              <a:lumMod val="65000"/>
            </a:schemeClr>
          </a:solidFill>
          <a:latin typeface="+mn-lt"/>
          <a:ea typeface="+mj-ea"/>
          <a:cs typeface="+mj-cs"/>
        </a:defRPr>
      </a:lvl1pPr>
    </p:titleStyle>
    <p:bodyStyle>
      <a:lvl1pPr marL="571500" indent="-571500" algn="l" defTabSz="914400" rtl="0" eaLnBrk="1" fontAlgn="ctr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SzPct val="120000"/>
        <a:buFont typeface="System Font Regular"/>
        <a:buChar char="○"/>
        <a:defRPr sz="2800" b="1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1pPr>
      <a:lvl2pPr marL="974725" indent="-406400" algn="l" defTabSz="914400" rtl="0" eaLnBrk="1" latinLnBrk="0" hangingPunct="1">
        <a:lnSpc>
          <a:spcPct val="112000"/>
        </a:lnSpc>
        <a:spcBef>
          <a:spcPts val="5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2700" b="0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2pPr>
      <a:lvl3pPr marL="1371600" indent="-365125" algn="l" defTabSz="914400" rtl="0" eaLnBrk="1" latinLnBrk="0" hangingPunct="1">
        <a:lnSpc>
          <a:spcPct val="112000"/>
        </a:lnSpc>
        <a:spcBef>
          <a:spcPts val="5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2200" b="0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3pPr>
      <a:lvl4pPr marL="1768475" indent="-342900" algn="l" defTabSz="914400" rtl="0" eaLnBrk="1" latinLnBrk="0" hangingPunct="1">
        <a:lnSpc>
          <a:spcPct val="112000"/>
        </a:lnSpc>
        <a:spcBef>
          <a:spcPts val="5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1800" b="0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4pPr>
      <a:lvl5pPr marL="964692" indent="0" algn="l" defTabSz="914400" rtl="0" eaLnBrk="1" latinLnBrk="0" hangingPunct="1">
        <a:lnSpc>
          <a:spcPct val="112000"/>
        </a:lnSpc>
        <a:spcBef>
          <a:spcPts val="500"/>
        </a:spcBef>
        <a:buClr>
          <a:schemeClr val="accent1"/>
        </a:buClr>
        <a:buSzPct val="120000"/>
        <a:buFont typeface="Arial" panose="020B0604020202020204" pitchFamily="34" charset="0"/>
        <a:buNone/>
        <a:defRPr sz="1800" b="0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5pPr>
      <a:lvl6pPr marL="1440180" indent="-292608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1800" b="0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6pPr>
      <a:lvl7pPr marL="1623060" indent="-29260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1800" b="0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7pPr>
      <a:lvl8pPr marL="1897380" indent="-29260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1800" b="0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8pPr>
      <a:lvl9pPr marL="2171700" indent="-29260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1800" b="0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24.xml"/><Relationship Id="rId4" Type="http://schemas.openxmlformats.org/officeDocument/2006/relationships/image" Target="../media/image1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2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42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2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42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42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jpeg"/><Relationship Id="rId1" Type="http://schemas.openxmlformats.org/officeDocument/2006/relationships/slideLayout" Target="../slideLayouts/slideLayout109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jpeg"/><Relationship Id="rId1" Type="http://schemas.openxmlformats.org/officeDocument/2006/relationships/slideLayout" Target="../slideLayouts/slideLayout109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4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8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3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7.png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9.xml"/><Relationship Id="rId4" Type="http://schemas.openxmlformats.org/officeDocument/2006/relationships/hyperlink" Target="mailto:aleena.surenian@northwestern.edu" TargetMode="Externa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3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9.png"/><Relationship Id="rId1" Type="http://schemas.openxmlformats.org/officeDocument/2006/relationships/slideLayout" Target="../slideLayouts/slideLayout153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153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3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image" Target="../media/image142.png"/><Relationship Id="rId1" Type="http://schemas.openxmlformats.org/officeDocument/2006/relationships/slideLayout" Target="../slideLayouts/slideLayout15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7.png"/><Relationship Id="rId5" Type="http://schemas.openxmlformats.org/officeDocument/2006/relationships/image" Target="../media/image106.png"/><Relationship Id="rId4" Type="http://schemas.openxmlformats.org/officeDocument/2006/relationships/image" Target="../media/image105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153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0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1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jp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2.png"/><Relationship Id="rId5" Type="http://schemas.openxmlformats.org/officeDocument/2006/relationships/image" Target="../media/image151.png"/><Relationship Id="rId4" Type="http://schemas.openxmlformats.org/officeDocument/2006/relationships/image" Target="../media/image15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hyperlink" Target="https://ipromoteil.org/illinois-maternal-health-task-force-committees/business-cards/" TargetMode="Externa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928.xml"/><Relationship Id="rId4" Type="http://schemas.openxmlformats.org/officeDocument/2006/relationships/image" Target="../media/image153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928.xml"/><Relationship Id="rId4" Type="http://schemas.openxmlformats.org/officeDocument/2006/relationships/image" Target="../media/image155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6.jp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928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077.xml"/><Relationship Id="rId4" Type="http://schemas.openxmlformats.org/officeDocument/2006/relationships/image" Target="../media/image15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png"/><Relationship Id="rId3" Type="http://schemas.openxmlformats.org/officeDocument/2006/relationships/image" Target="../media/image108.png"/><Relationship Id="rId7" Type="http://schemas.openxmlformats.org/officeDocument/2006/relationships/image" Target="../media/image1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22.xml"/><Relationship Id="rId6" Type="http://schemas.openxmlformats.org/officeDocument/2006/relationships/image" Target="../media/image111.png"/><Relationship Id="rId5" Type="http://schemas.openxmlformats.org/officeDocument/2006/relationships/image" Target="../media/image110.png"/><Relationship Id="rId10" Type="http://schemas.openxmlformats.org/officeDocument/2006/relationships/image" Target="../media/image115.png"/><Relationship Id="rId4" Type="http://schemas.openxmlformats.org/officeDocument/2006/relationships/image" Target="../media/image109.png"/><Relationship Id="rId9" Type="http://schemas.openxmlformats.org/officeDocument/2006/relationships/image" Target="../media/image1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2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9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93" name="Google Shape;10993;p1"/>
          <p:cNvSpPr txBox="1">
            <a:spLocks noGrp="1"/>
          </p:cNvSpPr>
          <p:nvPr>
            <p:ph type="ctrTitle"/>
          </p:nvPr>
        </p:nvSpPr>
        <p:spPr>
          <a:xfrm>
            <a:off x="1341423" y="1418093"/>
            <a:ext cx="5130670" cy="27007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r>
              <a:rPr lang="en-US" dirty="0"/>
              <a:t>BE Teams Call – </a:t>
            </a:r>
            <a:r>
              <a:rPr lang="en-US" dirty="0" err="1"/>
              <a:t>REDCap</a:t>
            </a:r>
            <a:r>
              <a:rPr lang="en-US" dirty="0"/>
              <a:t> PREM Data Dashboard Review</a:t>
            </a:r>
            <a:endParaRPr dirty="0"/>
          </a:p>
        </p:txBody>
      </p:sp>
      <p:sp>
        <p:nvSpPr>
          <p:cNvPr id="10994" name="Google Shape;10994;p1"/>
          <p:cNvSpPr txBox="1">
            <a:spLocks noGrp="1"/>
          </p:cNvSpPr>
          <p:nvPr>
            <p:ph type="subTitle" idx="1"/>
          </p:nvPr>
        </p:nvSpPr>
        <p:spPr>
          <a:xfrm>
            <a:off x="1341423" y="4198183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/>
              <a:t>Monday, September 18th, 2023</a:t>
            </a:r>
            <a:endParaRPr/>
          </a:p>
        </p:txBody>
      </p:sp>
      <p:pic>
        <p:nvPicPr>
          <p:cNvPr id="10995" name="Google Shape;10995;p1" descr="Woman kissing newborn baby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709082" y="1267275"/>
            <a:ext cx="5589946" cy="3837481"/>
          </a:xfrm>
          <a:prstGeom prst="ellipse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38" name="Google Shape;11138;p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  <p:sp>
        <p:nvSpPr>
          <p:cNvPr id="11139" name="Google Shape;11139;p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11140" name="Google Shape;11140;p10"/>
          <p:cNvSpPr txBox="1"/>
          <p:nvPr/>
        </p:nvSpPr>
        <p:spPr>
          <a:xfrm>
            <a:off x="96065" y="106165"/>
            <a:ext cx="8615352" cy="13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</a:pPr>
            <a:r>
              <a:rPr lang="en-US" sz="40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SDOH Screening and Linkage to Resources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41" name="Google Shape;11141;p10"/>
          <p:cNvSpPr txBox="1"/>
          <p:nvPr/>
        </p:nvSpPr>
        <p:spPr>
          <a:xfrm>
            <a:off x="1106129" y="1676009"/>
            <a:ext cx="4343400" cy="461665"/>
          </a:xfrm>
          <a:prstGeom prst="rect">
            <a:avLst/>
          </a:prstGeom>
          <a:noFill/>
          <a:ln w="57150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Calibri"/>
              <a:buNone/>
            </a:pPr>
            <a:r>
              <a:rPr lang="en-US" sz="24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SDoH Screening (L&amp;D)</a:t>
            </a:r>
            <a:endParaRPr sz="2400">
              <a:solidFill>
                <a:schemeClr val="accen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42" name="Google Shape;11142;p10"/>
          <p:cNvSpPr txBox="1"/>
          <p:nvPr/>
        </p:nvSpPr>
        <p:spPr>
          <a:xfrm>
            <a:off x="6934200" y="1492074"/>
            <a:ext cx="4343400" cy="830997"/>
          </a:xfrm>
          <a:prstGeom prst="rect">
            <a:avLst/>
          </a:prstGeom>
          <a:noFill/>
          <a:ln w="57150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Calibri"/>
              <a:buNone/>
            </a:pPr>
            <a:r>
              <a:rPr lang="en-US" sz="24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Documentation of Linkage to Resources (L&amp;D)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143" name="Google Shape;11143;p10" descr="A graph with a line and a line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2307" y="2292651"/>
            <a:ext cx="5897525" cy="3950280"/>
          </a:xfrm>
          <a:prstGeom prst="rect">
            <a:avLst/>
          </a:prstGeom>
          <a:noFill/>
          <a:ln>
            <a:noFill/>
          </a:ln>
        </p:spPr>
      </p:pic>
      <p:sp>
        <p:nvSpPr>
          <p:cNvPr id="11144" name="Google Shape;11144;p10"/>
          <p:cNvSpPr txBox="1"/>
          <p:nvPr/>
        </p:nvSpPr>
        <p:spPr>
          <a:xfrm>
            <a:off x="946867" y="5103249"/>
            <a:ext cx="590550" cy="369332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</a:pPr>
            <a:r>
              <a:rPr lang="en-US" sz="18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6%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45" name="Google Shape;11145;p10"/>
          <p:cNvSpPr txBox="1"/>
          <p:nvPr/>
        </p:nvSpPr>
        <p:spPr>
          <a:xfrm>
            <a:off x="5618433" y="3378413"/>
            <a:ext cx="600075" cy="369332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</a:pPr>
            <a:r>
              <a:rPr lang="en-US" sz="18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4%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146" name="Google Shape;11146;p10" descr="A graph with blue lines and red dots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596912" y="2426101"/>
            <a:ext cx="5324548" cy="3683377"/>
          </a:xfrm>
          <a:prstGeom prst="rect">
            <a:avLst/>
          </a:prstGeom>
          <a:noFill/>
          <a:ln>
            <a:noFill/>
          </a:ln>
        </p:spPr>
      </p:pic>
      <p:sp>
        <p:nvSpPr>
          <p:cNvPr id="11147" name="Google Shape;11147;p10"/>
          <p:cNvSpPr txBox="1"/>
          <p:nvPr/>
        </p:nvSpPr>
        <p:spPr>
          <a:xfrm>
            <a:off x="7073349" y="4025030"/>
            <a:ext cx="590550" cy="369332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</a:pPr>
            <a:r>
              <a:rPr lang="en-US" sz="18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4%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48" name="Google Shape;11148;p10"/>
          <p:cNvSpPr txBox="1"/>
          <p:nvPr/>
        </p:nvSpPr>
        <p:spPr>
          <a:xfrm>
            <a:off x="11403243" y="3902510"/>
            <a:ext cx="590550" cy="369332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</a:pPr>
            <a:r>
              <a:rPr lang="en-US" sz="18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7%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54" name="Google Shape;11154;p11"/>
          <p:cNvSpPr txBox="1">
            <a:spLocks noGrp="1"/>
          </p:cNvSpPr>
          <p:nvPr>
            <p:ph type="sldNum" idx="4294967295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98989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898989"/>
                </a:solidFill>
                <a:latin typeface="Arial"/>
                <a:ea typeface="Arial"/>
                <a:cs typeface="Arial"/>
                <a:sym typeface="Arial"/>
              </a:rPr>
              <a:t>11</a:t>
            </a:fld>
            <a:endParaRPr sz="1200" b="0" i="0" u="none" strike="noStrike" cap="none">
              <a:solidFill>
                <a:srgbClr val="898989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55" name="Google Shape;11155;p11"/>
          <p:cNvSpPr txBox="1">
            <a:spLocks noGrp="1"/>
          </p:cNvSpPr>
          <p:nvPr>
            <p:ph type="title"/>
          </p:nvPr>
        </p:nvSpPr>
        <p:spPr>
          <a:xfrm>
            <a:off x="199225" y="155534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Provider, Nurse, and Staff Education </a:t>
            </a:r>
            <a:endParaRPr/>
          </a:p>
        </p:txBody>
      </p:sp>
      <p:sp>
        <p:nvSpPr>
          <p:cNvPr id="11156" name="Google Shape;11156;p11"/>
          <p:cNvSpPr/>
          <p:nvPr/>
        </p:nvSpPr>
        <p:spPr>
          <a:xfrm>
            <a:off x="457200" y="6093011"/>
            <a:ext cx="11277600" cy="73836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57" name="Google Shape;11157;p11"/>
          <p:cNvSpPr txBox="1"/>
          <p:nvPr/>
        </p:nvSpPr>
        <p:spPr>
          <a:xfrm>
            <a:off x="9288894" y="2641480"/>
            <a:ext cx="646813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6%</a:t>
            </a: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58" name="Google Shape;11158;p11"/>
          <p:cNvSpPr txBox="1"/>
          <p:nvPr/>
        </p:nvSpPr>
        <p:spPr>
          <a:xfrm>
            <a:off x="9290538" y="2947125"/>
            <a:ext cx="646813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1%</a:t>
            </a: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59" name="Google Shape;11159;p11"/>
          <p:cNvSpPr txBox="1"/>
          <p:nvPr/>
        </p:nvSpPr>
        <p:spPr>
          <a:xfrm>
            <a:off x="9288893" y="3244685"/>
            <a:ext cx="646813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5%</a:t>
            </a: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160" name="Google Shape;11160;p11" descr="A graph of a number of people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22819" y="1522538"/>
            <a:ext cx="7835013" cy="494115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5" name="Google Shape;11165;p1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PREM Data Breakdown</a:t>
            </a:r>
            <a:endParaRPr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71" name="Google Shape;11171;p13"/>
          <p:cNvSpPr txBox="1">
            <a:spLocks noGrp="1"/>
          </p:cNvSpPr>
          <p:nvPr>
            <p:ph type="title"/>
          </p:nvPr>
        </p:nvSpPr>
        <p:spPr>
          <a:xfrm>
            <a:off x="176139" y="322259"/>
            <a:ext cx="6219825" cy="1344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</a:pPr>
            <a:r>
              <a:rPr lang="en-US" sz="4000"/>
              <a:t>PREM Survey Completion</a:t>
            </a:r>
            <a:endParaRPr/>
          </a:p>
        </p:txBody>
      </p:sp>
      <p:sp>
        <p:nvSpPr>
          <p:cNvPr id="11172" name="Google Shape;11172;p1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</a:pPr>
            <a:fld id="{00000000-1234-1234-1234-123412341234}" type="slidenum">
              <a:rPr lang="en-US"/>
              <a:t>13</a:t>
            </a:fld>
            <a:endParaRPr/>
          </a:p>
        </p:txBody>
      </p:sp>
      <p:sp>
        <p:nvSpPr>
          <p:cNvPr id="11173" name="Google Shape;11173;p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11174" name="Google Shape;11174;p13"/>
          <p:cNvSpPr/>
          <p:nvPr/>
        </p:nvSpPr>
        <p:spPr>
          <a:xfrm>
            <a:off x="227163" y="2281538"/>
            <a:ext cx="4873277" cy="1144663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14356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Total Completed PREM Surveys: </a:t>
            </a:r>
            <a:endParaRPr sz="2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Calibri"/>
              <a:buNone/>
            </a:pPr>
            <a:r>
              <a:rPr lang="en-US" sz="2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n = 5,448</a:t>
            </a:r>
            <a:endParaRPr sz="2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75" name="Google Shape;11175;p13"/>
          <p:cNvSpPr/>
          <p:nvPr/>
        </p:nvSpPr>
        <p:spPr>
          <a:xfrm>
            <a:off x="350853" y="4162655"/>
            <a:ext cx="4629717" cy="1144663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14356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ll-ILPQC July 2023 PREM Completion: 10.1%</a:t>
            </a:r>
            <a:endParaRPr sz="2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176" name="Google Shape;11176;p1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261935" y="2149168"/>
            <a:ext cx="6700874" cy="35402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AF9A2E-100A-07B4-D850-C7BDBD3BE2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M Survey Completion: Demographic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71FE23-100E-316A-80D9-BA82B095614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4</a:t>
            </a:fld>
            <a:endParaRPr lang="en-US"/>
          </a:p>
        </p:txBody>
      </p:sp>
      <p:pic>
        <p:nvPicPr>
          <p:cNvPr id="5" name="Picture 4" descr="A pie chart with text and numbers&#10;&#10;Description automatically generated">
            <a:extLst>
              <a:ext uri="{FF2B5EF4-FFF2-40B4-BE49-F238E27FC236}">
                <a16:creationId xmlns:a16="http://schemas.microsoft.com/office/drawing/2014/main" id="{6A6917B4-76DA-9BF2-3219-B6C9B0ED66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330" y="1685517"/>
            <a:ext cx="11639106" cy="4183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5606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81" name="Google Shape;11181;p14"/>
          <p:cNvSpPr txBox="1">
            <a:spLocks noGrp="1"/>
          </p:cNvSpPr>
          <p:nvPr>
            <p:ph type="title"/>
          </p:nvPr>
        </p:nvSpPr>
        <p:spPr>
          <a:xfrm>
            <a:off x="529856" y="214497"/>
            <a:ext cx="7313428" cy="13432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 dirty="0"/>
              <a:t>PREM Survey Results (Q3/Q4 2022 – Q1/Q2 2023)</a:t>
            </a:r>
            <a:endParaRPr dirty="0"/>
          </a:p>
        </p:txBody>
      </p:sp>
      <p:sp>
        <p:nvSpPr>
          <p:cNvPr id="11182" name="Google Shape;11182;p1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</a:pPr>
            <a:fld id="{00000000-1234-1234-1234-123412341234}" type="slidenum">
              <a:rPr lang="en-US"/>
              <a:t>15</a:t>
            </a:fld>
            <a:endParaRPr/>
          </a:p>
        </p:txBody>
      </p:sp>
      <p:graphicFrame>
        <p:nvGraphicFramePr>
          <p:cNvPr id="11183" name="Google Shape;11183;p14"/>
          <p:cNvGraphicFramePr/>
          <p:nvPr>
            <p:extLst>
              <p:ext uri="{D42A27DB-BD31-4B8C-83A1-F6EECF244321}">
                <p14:modId xmlns:p14="http://schemas.microsoft.com/office/powerpoint/2010/main" val="2997843665"/>
              </p:ext>
            </p:extLst>
          </p:nvPr>
        </p:nvGraphicFramePr>
        <p:xfrm>
          <a:off x="953659" y="1694305"/>
          <a:ext cx="8810101" cy="51636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6AE365-1794-6138-FD04-FDCE4C0B0C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7464056" cy="1343282"/>
          </a:xfrm>
        </p:spPr>
        <p:txBody>
          <a:bodyPr/>
          <a:lstStyle/>
          <a:p>
            <a:r>
              <a:rPr lang="en-US" dirty="0"/>
              <a:t>PREM Survey Results (Q3/Q4 2022 – Q1/Q2 2023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E9FE26-AF87-0DA5-0D13-5C0965961AC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6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F9172AC-1019-A3CF-7CC8-9B283A9DD7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8540" y="1576789"/>
            <a:ext cx="7521943" cy="4684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76684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3E522B-319F-4881-8DF8-3D86DC229F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080" y="222885"/>
            <a:ext cx="7599680" cy="1325563"/>
          </a:xfrm>
        </p:spPr>
        <p:txBody>
          <a:bodyPr/>
          <a:lstStyle/>
          <a:p>
            <a:r>
              <a:rPr lang="en-US" dirty="0"/>
              <a:t>PREM Survey Results (Q3/Q4 2022 – Q1/Q2 2023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6EDC870-3749-4B9F-89E6-CA6EFFDA76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9360" y="1435434"/>
            <a:ext cx="8056880" cy="532780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5CCFA0-7B60-459D-B761-BB4FA17F56D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161150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EE93A1-93F4-4D34-8B73-7AFA9DCCF6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7345" y="568670"/>
            <a:ext cx="4212384" cy="1783080"/>
          </a:xfr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</a:pPr>
            <a:r>
              <a:rPr lang="en-US" dirty="0"/>
              <a:t>Summary of PREM data: by Race/Ethnicity</a:t>
            </a:r>
          </a:p>
        </p:txBody>
      </p:sp>
      <p:pic>
        <p:nvPicPr>
          <p:cNvPr id="7" name="Picture 6" descr="Desk with stethoscope and computer keyboard">
            <a:extLst>
              <a:ext uri="{FF2B5EF4-FFF2-40B4-BE49-F238E27FC236}">
                <a16:creationId xmlns:a16="http://schemas.microsoft.com/office/drawing/2014/main" id="{F7BCC3C2-0A75-4AB8-1F46-7610E78265C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20207" y="-136515"/>
            <a:ext cx="4657344" cy="6857990"/>
          </a:xfrm>
          <a:custGeom>
            <a:avLst/>
            <a:gdLst/>
            <a:ahLst/>
            <a:cxnLst/>
            <a:rect l="l" t="t" r="r" b="b"/>
            <a:pathLst>
              <a:path w="4657344" h="6858000">
                <a:moveTo>
                  <a:pt x="0" y="0"/>
                </a:moveTo>
                <a:lnTo>
                  <a:pt x="3429755" y="0"/>
                </a:lnTo>
                <a:lnTo>
                  <a:pt x="3526016" y="148742"/>
                </a:lnTo>
                <a:cubicBezTo>
                  <a:pt x="3657740" y="365513"/>
                  <a:pt x="3777402" y="589569"/>
                  <a:pt x="3886489" y="819975"/>
                </a:cubicBezTo>
                <a:cubicBezTo>
                  <a:pt x="3891856" y="833492"/>
                  <a:pt x="3900663" y="845393"/>
                  <a:pt x="3912049" y="854514"/>
                </a:cubicBezTo>
                <a:cubicBezTo>
                  <a:pt x="3897352" y="819849"/>
                  <a:pt x="3883037" y="784928"/>
                  <a:pt x="3868083" y="750263"/>
                </a:cubicBezTo>
                <a:cubicBezTo>
                  <a:pt x="3806989" y="608712"/>
                  <a:pt x="3742478" y="469145"/>
                  <a:pt x="3674155" y="331786"/>
                </a:cubicBezTo>
                <a:lnTo>
                  <a:pt x="3496656" y="0"/>
                </a:lnTo>
                <a:lnTo>
                  <a:pt x="3554371" y="0"/>
                </a:lnTo>
                <a:lnTo>
                  <a:pt x="3661621" y="196614"/>
                </a:lnTo>
                <a:cubicBezTo>
                  <a:pt x="3856899" y="573253"/>
                  <a:pt x="4021071" y="966066"/>
                  <a:pt x="4161279" y="1371196"/>
                </a:cubicBezTo>
                <a:cubicBezTo>
                  <a:pt x="4379525" y="2007265"/>
                  <a:pt x="4530141" y="2664286"/>
                  <a:pt x="4610660" y="3331516"/>
                </a:cubicBezTo>
                <a:cubicBezTo>
                  <a:pt x="4652837" y="3672965"/>
                  <a:pt x="4671625" y="4013908"/>
                  <a:pt x="4645040" y="4357388"/>
                </a:cubicBezTo>
                <a:cubicBezTo>
                  <a:pt x="4613599" y="4758899"/>
                  <a:pt x="4566181" y="5157998"/>
                  <a:pt x="4485789" y="5552906"/>
                </a:cubicBezTo>
                <a:cubicBezTo>
                  <a:pt x="4397121" y="5988893"/>
                  <a:pt x="4276748" y="6414594"/>
                  <a:pt x="4117769" y="6828295"/>
                </a:cubicBezTo>
                <a:lnTo>
                  <a:pt x="4105288" y="6858000"/>
                </a:lnTo>
                <a:lnTo>
                  <a:pt x="4052520" y="6858000"/>
                </a:lnTo>
                <a:lnTo>
                  <a:pt x="4059369" y="6841549"/>
                </a:lnTo>
                <a:cubicBezTo>
                  <a:pt x="4147276" y="6614016"/>
                  <a:pt x="4224193" y="6380817"/>
                  <a:pt x="4291518" y="6142729"/>
                </a:cubicBezTo>
                <a:cubicBezTo>
                  <a:pt x="4350055" y="5935370"/>
                  <a:pt x="4393256" y="5723695"/>
                  <a:pt x="4443357" y="5513923"/>
                </a:cubicBezTo>
                <a:cubicBezTo>
                  <a:pt x="4444541" y="5502788"/>
                  <a:pt x="4445137" y="5491601"/>
                  <a:pt x="4445146" y="5480401"/>
                </a:cubicBezTo>
                <a:cubicBezTo>
                  <a:pt x="4408465" y="5607635"/>
                  <a:pt x="4379196" y="5719759"/>
                  <a:pt x="4344559" y="5830359"/>
                </a:cubicBezTo>
                <a:cubicBezTo>
                  <a:pt x="4254261" y="6118381"/>
                  <a:pt x="4150112" y="6398531"/>
                  <a:pt x="4031702" y="6670527"/>
                </a:cubicBezTo>
                <a:lnTo>
                  <a:pt x="394382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3AEF27-84A3-4C8F-AADA-6DA6F2EC17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97762" y="2706624"/>
            <a:ext cx="6251110" cy="3483864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 b="1" dirty="0">
                <a:ea typeface="Lato"/>
                <a:cs typeface="Lato"/>
              </a:rPr>
              <a:t>96%</a:t>
            </a:r>
            <a:r>
              <a:rPr lang="en-US" sz="2000" dirty="0">
                <a:ea typeface="Lato"/>
                <a:cs typeface="Lato"/>
              </a:rPr>
              <a:t> of patients of color felt they were treated with respect during L&amp;D stay vs </a:t>
            </a:r>
            <a:r>
              <a:rPr lang="en-US" sz="2000" b="1" dirty="0">
                <a:ea typeface="Lato"/>
                <a:cs typeface="Lato"/>
              </a:rPr>
              <a:t>98%</a:t>
            </a:r>
            <a:r>
              <a:rPr lang="en-US" sz="2000" dirty="0">
                <a:ea typeface="Lato"/>
                <a:cs typeface="Lato"/>
              </a:rPr>
              <a:t> of white patients (4% of BIPOC patients felt not treated with respect).</a:t>
            </a:r>
          </a:p>
          <a:p>
            <a:pPr>
              <a:lnSpc>
                <a:spcPct val="90000"/>
              </a:lnSpc>
            </a:pPr>
            <a:r>
              <a:rPr lang="en-US" sz="2000" b="1" dirty="0">
                <a:ea typeface="Lato"/>
                <a:cs typeface="Lato"/>
              </a:rPr>
              <a:t>81%</a:t>
            </a:r>
            <a:r>
              <a:rPr lang="en-US" sz="2000" dirty="0">
                <a:ea typeface="Lato"/>
                <a:cs typeface="Lato"/>
              </a:rPr>
              <a:t> of BIPOC patients and</a:t>
            </a:r>
            <a:r>
              <a:rPr lang="en-US" sz="2000" b="1" dirty="0">
                <a:ea typeface="Lato"/>
                <a:cs typeface="Lato"/>
              </a:rPr>
              <a:t> 78%</a:t>
            </a:r>
            <a:r>
              <a:rPr lang="en-US" sz="2000" dirty="0">
                <a:ea typeface="Lato"/>
                <a:cs typeface="Lato"/>
              </a:rPr>
              <a:t> of white patients felt that when clinical team couldn’t meet patient's wishes they explained why (about 20% of pts across all racial groups did not feel that decision making was explained to them)</a:t>
            </a:r>
          </a:p>
          <a:p>
            <a:pPr>
              <a:lnSpc>
                <a:spcPct val="90000"/>
              </a:lnSpc>
            </a:pPr>
            <a:r>
              <a:rPr lang="en-US" sz="2000" b="1" dirty="0">
                <a:ea typeface="Lato"/>
                <a:cs typeface="Lato"/>
              </a:rPr>
              <a:t>13% </a:t>
            </a:r>
            <a:r>
              <a:rPr lang="en-US" sz="2000" dirty="0">
                <a:ea typeface="Lato"/>
                <a:cs typeface="Lato"/>
              </a:rPr>
              <a:t>of BIPOC patients and </a:t>
            </a:r>
            <a:r>
              <a:rPr lang="en-US" sz="2000" b="1" dirty="0">
                <a:ea typeface="Lato"/>
                <a:cs typeface="Lato"/>
              </a:rPr>
              <a:t>10% </a:t>
            </a:r>
            <a:r>
              <a:rPr lang="en-US" sz="2000" dirty="0">
                <a:ea typeface="Lato"/>
                <a:cs typeface="Lato"/>
              </a:rPr>
              <a:t>of white patients felt they were pressured into care they didn’t want</a:t>
            </a:r>
          </a:p>
          <a:p>
            <a:pPr>
              <a:lnSpc>
                <a:spcPct val="90000"/>
              </a:lnSpc>
            </a:pPr>
            <a:endParaRPr lang="en-US" sz="2000" dirty="0"/>
          </a:p>
          <a:p>
            <a:pPr>
              <a:lnSpc>
                <a:spcPct val="90000"/>
              </a:lnSpc>
            </a:pPr>
            <a:endParaRPr lang="en-US" sz="2000" dirty="0"/>
          </a:p>
          <a:p>
            <a:pPr>
              <a:lnSpc>
                <a:spcPct val="90000"/>
              </a:lnSpc>
            </a:pPr>
            <a:endParaRPr lang="en-US" sz="20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834DD2-0965-46B6-9500-5112B1A133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297762" y="6356350"/>
            <a:ext cx="4114800" cy="365125"/>
          </a:xfrm>
        </p:spPr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25D8EB-7BF8-4A15-983D-148BAB8D97C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052978" y="6356350"/>
            <a:ext cx="1300821" cy="365125"/>
          </a:xfrm>
        </p:spPr>
        <p:txBody>
          <a:bodyPr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81302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BF2D78-56AF-4F51-BAC8-33E8CE1FCD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37602" y="950457"/>
            <a:ext cx="4325209" cy="1306721"/>
          </a:xfrm>
        </p:spPr>
        <p:txBody>
          <a:bodyPr anchor="b">
            <a:noAutofit/>
          </a:bodyPr>
          <a:lstStyle/>
          <a:p>
            <a:r>
              <a:rPr lang="en-US" dirty="0">
                <a:ea typeface="Lato Medium"/>
                <a:cs typeface="Lato Medium"/>
              </a:rPr>
              <a:t>Summary of PREM data: by Insurance Status</a:t>
            </a:r>
          </a:p>
        </p:txBody>
      </p:sp>
      <p:pic>
        <p:nvPicPr>
          <p:cNvPr id="7" name="Picture 6" descr="Desk with stethoscope and computer keyboard">
            <a:extLst>
              <a:ext uri="{FF2B5EF4-FFF2-40B4-BE49-F238E27FC236}">
                <a16:creationId xmlns:a16="http://schemas.microsoft.com/office/drawing/2014/main" id="{EB34EFDC-34D1-AF0E-A5C3-996119014B7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0"/>
            <a:ext cx="4657344" cy="6857990"/>
          </a:xfrm>
          <a:custGeom>
            <a:avLst/>
            <a:gdLst/>
            <a:ahLst/>
            <a:cxnLst/>
            <a:rect l="l" t="t" r="r" b="b"/>
            <a:pathLst>
              <a:path w="4657344" h="6858000">
                <a:moveTo>
                  <a:pt x="0" y="0"/>
                </a:moveTo>
                <a:lnTo>
                  <a:pt x="3429755" y="0"/>
                </a:lnTo>
                <a:lnTo>
                  <a:pt x="3526016" y="148742"/>
                </a:lnTo>
                <a:cubicBezTo>
                  <a:pt x="3657740" y="365513"/>
                  <a:pt x="3777402" y="589569"/>
                  <a:pt x="3886489" y="819975"/>
                </a:cubicBezTo>
                <a:cubicBezTo>
                  <a:pt x="3891856" y="833492"/>
                  <a:pt x="3900663" y="845393"/>
                  <a:pt x="3912049" y="854514"/>
                </a:cubicBezTo>
                <a:cubicBezTo>
                  <a:pt x="3897352" y="819849"/>
                  <a:pt x="3883037" y="784928"/>
                  <a:pt x="3868083" y="750263"/>
                </a:cubicBezTo>
                <a:cubicBezTo>
                  <a:pt x="3806989" y="608712"/>
                  <a:pt x="3742478" y="469145"/>
                  <a:pt x="3674155" y="331786"/>
                </a:cubicBezTo>
                <a:lnTo>
                  <a:pt x="3496656" y="0"/>
                </a:lnTo>
                <a:lnTo>
                  <a:pt x="3554371" y="0"/>
                </a:lnTo>
                <a:lnTo>
                  <a:pt x="3661621" y="196614"/>
                </a:lnTo>
                <a:cubicBezTo>
                  <a:pt x="3856899" y="573253"/>
                  <a:pt x="4021071" y="966066"/>
                  <a:pt x="4161279" y="1371196"/>
                </a:cubicBezTo>
                <a:cubicBezTo>
                  <a:pt x="4379525" y="2007265"/>
                  <a:pt x="4530141" y="2664286"/>
                  <a:pt x="4610660" y="3331516"/>
                </a:cubicBezTo>
                <a:cubicBezTo>
                  <a:pt x="4652837" y="3672965"/>
                  <a:pt x="4671625" y="4013908"/>
                  <a:pt x="4645040" y="4357388"/>
                </a:cubicBezTo>
                <a:cubicBezTo>
                  <a:pt x="4613599" y="4758899"/>
                  <a:pt x="4566181" y="5157998"/>
                  <a:pt x="4485789" y="5552906"/>
                </a:cubicBezTo>
                <a:cubicBezTo>
                  <a:pt x="4397121" y="5988893"/>
                  <a:pt x="4276748" y="6414594"/>
                  <a:pt x="4117769" y="6828295"/>
                </a:cubicBezTo>
                <a:lnTo>
                  <a:pt x="4105288" y="6858000"/>
                </a:lnTo>
                <a:lnTo>
                  <a:pt x="4052520" y="6858000"/>
                </a:lnTo>
                <a:lnTo>
                  <a:pt x="4059369" y="6841549"/>
                </a:lnTo>
                <a:cubicBezTo>
                  <a:pt x="4147276" y="6614016"/>
                  <a:pt x="4224193" y="6380817"/>
                  <a:pt x="4291518" y="6142729"/>
                </a:cubicBezTo>
                <a:cubicBezTo>
                  <a:pt x="4350055" y="5935370"/>
                  <a:pt x="4393256" y="5723695"/>
                  <a:pt x="4443357" y="5513923"/>
                </a:cubicBezTo>
                <a:cubicBezTo>
                  <a:pt x="4444541" y="5502788"/>
                  <a:pt x="4445137" y="5491601"/>
                  <a:pt x="4445146" y="5480401"/>
                </a:cubicBezTo>
                <a:cubicBezTo>
                  <a:pt x="4408465" y="5607635"/>
                  <a:pt x="4379196" y="5719759"/>
                  <a:pt x="4344559" y="5830359"/>
                </a:cubicBezTo>
                <a:cubicBezTo>
                  <a:pt x="4254261" y="6118381"/>
                  <a:pt x="4150112" y="6398531"/>
                  <a:pt x="4031702" y="6670527"/>
                </a:cubicBezTo>
                <a:lnTo>
                  <a:pt x="394382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95BF62-A829-4AFB-B5FD-885597C79D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97762" y="2470345"/>
            <a:ext cx="6156599" cy="1614808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</a:pPr>
            <a:r>
              <a:rPr lang="en-US" sz="2000" dirty="0">
                <a:ea typeface="Lato"/>
                <a:cs typeface="Lato"/>
              </a:rPr>
              <a:t>Only 77</a:t>
            </a:r>
            <a:r>
              <a:rPr lang="en-US" sz="2000" b="1" dirty="0">
                <a:ea typeface="Lato"/>
                <a:cs typeface="Lato"/>
              </a:rPr>
              <a:t>%</a:t>
            </a:r>
            <a:r>
              <a:rPr lang="en-US" sz="2000" dirty="0">
                <a:ea typeface="Lato"/>
                <a:cs typeface="Lato"/>
              </a:rPr>
              <a:t> of private patients and </a:t>
            </a:r>
            <a:r>
              <a:rPr lang="en-US" sz="2000" b="1" dirty="0">
                <a:ea typeface="Lato"/>
                <a:cs typeface="Lato"/>
              </a:rPr>
              <a:t>82%</a:t>
            </a:r>
            <a:r>
              <a:rPr lang="en-US" sz="2000" dirty="0">
                <a:ea typeface="Lato"/>
                <a:cs typeface="Lato"/>
              </a:rPr>
              <a:t> of public insurance patients felt that when my clinical team couldn’t meet my wishes, they explained why</a:t>
            </a:r>
          </a:p>
          <a:p>
            <a:pPr>
              <a:lnSpc>
                <a:spcPct val="90000"/>
              </a:lnSpc>
            </a:pPr>
            <a:r>
              <a:rPr lang="en-US" sz="2000" b="1" dirty="0">
                <a:ea typeface="Lato"/>
                <a:cs typeface="Lato"/>
              </a:rPr>
              <a:t>9% </a:t>
            </a:r>
            <a:r>
              <a:rPr lang="en-US" sz="2000" dirty="0">
                <a:ea typeface="Lato"/>
                <a:cs typeface="Lato"/>
              </a:rPr>
              <a:t>of private insurance patients and 13</a:t>
            </a:r>
            <a:r>
              <a:rPr lang="en-US" sz="2000" b="1" dirty="0">
                <a:ea typeface="Lato"/>
                <a:cs typeface="Lato"/>
              </a:rPr>
              <a:t>% </a:t>
            </a:r>
            <a:r>
              <a:rPr lang="en-US" sz="2000" dirty="0">
                <a:ea typeface="Lato"/>
                <a:cs typeface="Lato"/>
              </a:rPr>
              <a:t>of public insurance patients felt pressured into accepting care they didn’t want</a:t>
            </a:r>
          </a:p>
          <a:p>
            <a:pPr>
              <a:lnSpc>
                <a:spcPct val="90000"/>
              </a:lnSpc>
            </a:pPr>
            <a:endParaRPr lang="en-US" sz="17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2EDDA6-1DB5-4C25-AA64-F9D27C80FA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297762" y="6356350"/>
            <a:ext cx="4114800" cy="365125"/>
          </a:xfrm>
        </p:spPr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3A65FE-CE9B-4CED-9764-219AB456146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052978" y="6356350"/>
            <a:ext cx="1300821" cy="365125"/>
          </a:xfrm>
        </p:spPr>
        <p:txBody>
          <a:bodyPr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1E2A653-8BAF-C10D-A5FD-021B7BFD973E}"/>
              </a:ext>
            </a:extLst>
          </p:cNvPr>
          <p:cNvSpPr txBox="1"/>
          <p:nvPr/>
        </p:nvSpPr>
        <p:spPr>
          <a:xfrm>
            <a:off x="5789083" y="4534221"/>
            <a:ext cx="5270499" cy="1602490"/>
          </a:xfrm>
          <a:prstGeom prst="rect">
            <a:avLst/>
          </a:prstGeom>
          <a:noFill/>
          <a:ln>
            <a:solidFill>
              <a:srgbClr val="4472C4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</a:pPr>
            <a:r>
              <a:rPr lang="en-US" b="1" dirty="0">
                <a:ea typeface="+mn-lt"/>
                <a:cs typeface="+mn-lt"/>
              </a:rPr>
              <a:t>GOAL is to improve RESPECTFUL CARE and focus on improved communication with patients!  </a:t>
            </a:r>
            <a:endParaRPr lang="en-US" dirty="0">
              <a:ea typeface="+mn-lt"/>
              <a:cs typeface="+mn-lt"/>
            </a:endParaRPr>
          </a:p>
          <a:p>
            <a:pPr algn="ctr"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</a:pPr>
            <a:r>
              <a:rPr lang="en-US" b="1" dirty="0">
                <a:ea typeface="+mn-lt"/>
                <a:cs typeface="+mn-lt"/>
              </a:rPr>
              <a:t>Shared decision making and active listening</a:t>
            </a:r>
            <a:endParaRPr lang="en-US" dirty="0">
              <a:ea typeface="+mn-lt"/>
              <a:cs typeface="+mn-lt"/>
            </a:endParaRPr>
          </a:p>
          <a:p>
            <a:pPr algn="ctr"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</a:pPr>
            <a:r>
              <a:rPr lang="en-US" b="1" dirty="0">
                <a:ea typeface="+mn-lt"/>
                <a:cs typeface="+mn-lt"/>
              </a:rPr>
              <a:t>How do we make progress? Get patient input!</a:t>
            </a:r>
            <a:endParaRPr lang="en-US" dirty="0">
              <a:cs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2094842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10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01" name="Google Shape;11001;p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02" name="Google Shape;11002;p2"/>
          <p:cNvSpPr/>
          <p:nvPr/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0">
                <a:srgbClr val="000000"/>
              </a:gs>
              <a:gs pos="8000">
                <a:srgbClr val="000000"/>
              </a:gs>
              <a:gs pos="100000">
                <a:srgbClr val="143668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03" name="Google Shape;11003;p2"/>
          <p:cNvSpPr/>
          <p:nvPr/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rgbClr val="1C498B">
                  <a:alpha val="45882"/>
                </a:srgbClr>
              </a:gs>
              <a:gs pos="100000">
                <a:srgbClr val="1C498B">
                  <a:alpha val="45882"/>
                </a:srgbClr>
              </a:gs>
            </a:gsLst>
            <a:lin ang="1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04" name="Google Shape;11004;p2"/>
          <p:cNvSpPr/>
          <p:nvPr/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0">
                <a:srgbClr val="1C498B">
                  <a:alpha val="28627"/>
                </a:srgbClr>
              </a:gs>
              <a:gs pos="2000">
                <a:srgbClr val="1C498B">
                  <a:alpha val="28627"/>
                </a:srgbClr>
              </a:gs>
              <a:gs pos="100000">
                <a:srgbClr val="000000">
                  <a:alpha val="29803"/>
                </a:srgbClr>
              </a:gs>
            </a:gsLst>
            <a:lin ang="7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05" name="Google Shape;11005;p2"/>
          <p:cNvSpPr/>
          <p:nvPr/>
        </p:nvSpPr>
        <p:spPr>
          <a:xfrm rot="-964587">
            <a:off x="-501737" y="969718"/>
            <a:ext cx="3900357" cy="4178958"/>
          </a:xfrm>
          <a:custGeom>
            <a:avLst/>
            <a:gdLst/>
            <a:ahLst/>
            <a:cxnLst/>
            <a:rect l="l" t="t" r="r" b="b"/>
            <a:pathLst>
              <a:path w="3900357" h="4178958" extrusionOk="0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0">
                <a:srgbClr val="000000">
                  <a:alpha val="0"/>
                </a:srgbClr>
              </a:gs>
              <a:gs pos="29000">
                <a:srgbClr val="000000">
                  <a:alpha val="0"/>
                </a:srgbClr>
              </a:gs>
              <a:gs pos="100000">
                <a:srgbClr val="1C498B">
                  <a:alpha val="42745"/>
                </a:srgbClr>
              </a:gs>
            </a:gsLst>
            <a:lin ang="1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06" name="Google Shape;11006;p2"/>
          <p:cNvSpPr/>
          <p:nvPr/>
        </p:nvSpPr>
        <p:spPr>
          <a:xfrm rot="5400000" flipH="1">
            <a:off x="-1410095" y="1410079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rgbClr val="5189DD">
                  <a:alpha val="10980"/>
                </a:srgbClr>
              </a:gs>
              <a:gs pos="100000">
                <a:srgbClr val="5189DD">
                  <a:alpha val="10980"/>
                </a:srgbClr>
              </a:gs>
            </a:gsLst>
            <a:lin ang="72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07" name="Google Shape;11007;p2"/>
          <p:cNvSpPr txBox="1">
            <a:spLocks noGrp="1"/>
          </p:cNvSpPr>
          <p:nvPr>
            <p:ph type="title"/>
          </p:nvPr>
        </p:nvSpPr>
        <p:spPr>
          <a:xfrm>
            <a:off x="586478" y="1683756"/>
            <a:ext cx="3115265" cy="23963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Calibri"/>
              <a:buNone/>
            </a:pPr>
            <a:r>
              <a:rPr lang="en-US" sz="4000">
                <a:solidFill>
                  <a:srgbClr val="FFFFFF"/>
                </a:solidFill>
              </a:rPr>
              <a:t>Call Overview</a:t>
            </a:r>
            <a:endParaRPr/>
          </a:p>
        </p:txBody>
      </p:sp>
      <p:sp>
        <p:nvSpPr>
          <p:cNvPr id="11008" name="Google Shape;11008;p2"/>
          <p:cNvSpPr txBox="1">
            <a:spLocks noGrp="1"/>
          </p:cNvSpPr>
          <p:nvPr>
            <p:ph type="ftr" idx="11"/>
          </p:nvPr>
        </p:nvSpPr>
        <p:spPr>
          <a:xfrm rot="5400000">
            <a:off x="-1828800" y="1984248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Calibri"/>
              <a:buNone/>
            </a:pPr>
            <a:r>
              <a:rPr lang="en-US" sz="11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sp>
        <p:nvSpPr>
          <p:cNvPr id="11009" name="Google Shape;11009;p2"/>
          <p:cNvSpPr txBox="1">
            <a:spLocks noGrp="1"/>
          </p:cNvSpPr>
          <p:nvPr>
            <p:ph type="sldNum" idx="12"/>
          </p:nvPr>
        </p:nvSpPr>
        <p:spPr>
          <a:xfrm>
            <a:off x="11704320" y="6455664"/>
            <a:ext cx="448056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CA5AE"/>
              </a:buClr>
              <a:buSzPts val="1100"/>
              <a:buFont typeface="Calibri"/>
              <a:buNone/>
            </a:pPr>
            <a:fld id="{00000000-1234-1234-1234-123412341234}" type="slidenum">
              <a:rPr lang="en-US" sz="1100" b="0" i="0" u="none" strike="noStrike" cap="none">
                <a:solidFill>
                  <a:srgbClr val="9CA5AE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sz="1100" b="0" i="0" u="none" strike="noStrike" cap="none">
              <a:solidFill>
                <a:srgbClr val="9CA5A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1010" name="Google Shape;11010;p2"/>
          <p:cNvGrpSpPr/>
          <p:nvPr/>
        </p:nvGrpSpPr>
        <p:grpSpPr>
          <a:xfrm>
            <a:off x="4421405" y="912576"/>
            <a:ext cx="7281349" cy="5065920"/>
            <a:chOff x="0" y="372209"/>
            <a:chExt cx="7281349" cy="5065920"/>
          </a:xfrm>
        </p:grpSpPr>
        <p:sp>
          <p:nvSpPr>
            <p:cNvPr id="11011" name="Google Shape;11011;p2"/>
            <p:cNvSpPr/>
            <p:nvPr/>
          </p:nvSpPr>
          <p:spPr>
            <a:xfrm>
              <a:off x="0" y="372209"/>
              <a:ext cx="7281349" cy="767520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rgbClr val="7DA1FD"/>
                </a:gs>
                <a:gs pos="50000">
                  <a:srgbClr val="6292FE"/>
                </a:gs>
                <a:gs pos="100000">
                  <a:srgbClr val="4D7DE3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2" name="Google Shape;11012;p2"/>
            <p:cNvSpPr txBox="1"/>
            <p:nvPr/>
          </p:nvSpPr>
          <p:spPr>
            <a:xfrm>
              <a:off x="37467" y="409676"/>
              <a:ext cx="7206415" cy="6925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3200"/>
                <a:buFont typeface="Calibri"/>
                <a:buNone/>
              </a:pPr>
              <a:r>
                <a:rPr lang="en-US" sz="3200" b="0" i="0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ILPQC Updates</a:t>
              </a:r>
              <a:r>
                <a:rPr lang="en-US" sz="3200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 – Annual Conference 2023</a:t>
              </a:r>
              <a:endParaRPr sz="320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13" name="Google Shape;11013;p2"/>
            <p:cNvSpPr/>
            <p:nvPr/>
          </p:nvSpPr>
          <p:spPr>
            <a:xfrm>
              <a:off x="0" y="1231889"/>
              <a:ext cx="7281349" cy="767520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rgbClr val="72D9F5"/>
                </a:gs>
                <a:gs pos="50000">
                  <a:srgbClr val="54D8F9"/>
                </a:gs>
                <a:gs pos="100000">
                  <a:srgbClr val="41C4E3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4" name="Google Shape;11014;p2"/>
            <p:cNvSpPr txBox="1"/>
            <p:nvPr/>
          </p:nvSpPr>
          <p:spPr>
            <a:xfrm>
              <a:off x="37467" y="1269356"/>
              <a:ext cx="7206415" cy="6925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3200"/>
                <a:buFont typeface="Calibri"/>
                <a:buNone/>
              </a:pPr>
              <a:r>
                <a:rPr lang="en-US" sz="3200" b="0" i="0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BE Data Review</a:t>
              </a:r>
              <a:endParaRPr sz="320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15" name="Google Shape;11015;p2"/>
            <p:cNvSpPr/>
            <p:nvPr/>
          </p:nvSpPr>
          <p:spPr>
            <a:xfrm>
              <a:off x="0" y="2091569"/>
              <a:ext cx="7281349" cy="767520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rgbClr val="6AE9C0"/>
                </a:gs>
                <a:gs pos="50000">
                  <a:srgbClr val="4BEDBA"/>
                </a:gs>
                <a:gs pos="100000">
                  <a:srgbClr val="3AD9A7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6" name="Google Shape;11016;p2"/>
            <p:cNvSpPr txBox="1"/>
            <p:nvPr/>
          </p:nvSpPr>
          <p:spPr>
            <a:xfrm>
              <a:off x="37467" y="2129036"/>
              <a:ext cx="7206415" cy="6925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3200"/>
                <a:buFont typeface="Calibri"/>
                <a:buNone/>
              </a:pPr>
              <a:r>
                <a:rPr lang="en-US" sz="3200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REDCap PREM Data Dashboard Review</a:t>
              </a:r>
              <a:endParaRPr/>
            </a:p>
          </p:txBody>
        </p:sp>
        <p:sp>
          <p:nvSpPr>
            <p:cNvPr id="11017" name="Google Shape;11017;p2"/>
            <p:cNvSpPr/>
            <p:nvPr/>
          </p:nvSpPr>
          <p:spPr>
            <a:xfrm>
              <a:off x="0" y="2951249"/>
              <a:ext cx="7281349" cy="767520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rgbClr val="64DC78"/>
                </a:gs>
                <a:gs pos="50000">
                  <a:srgbClr val="44DE60"/>
                </a:gs>
                <a:gs pos="100000">
                  <a:srgbClr val="33CC4F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8" name="Google Shape;11018;p2"/>
            <p:cNvSpPr txBox="1"/>
            <p:nvPr/>
          </p:nvSpPr>
          <p:spPr>
            <a:xfrm>
              <a:off x="37467" y="2988716"/>
              <a:ext cx="7206415" cy="6925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3200"/>
                <a:buFont typeface="Calibri"/>
                <a:buNone/>
              </a:pPr>
              <a:r>
                <a:rPr lang="en-US" sz="3200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Our ILPQC Goal for Patient Engagement</a:t>
              </a:r>
              <a:endParaRPr sz="320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19" name="Google Shape;11019;p2"/>
            <p:cNvSpPr/>
            <p:nvPr/>
          </p:nvSpPr>
          <p:spPr>
            <a:xfrm>
              <a:off x="0" y="3810929"/>
              <a:ext cx="7281349" cy="767520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rgbClr val="80CE61"/>
                </a:gs>
                <a:gs pos="50000">
                  <a:srgbClr val="6DCE3F"/>
                </a:gs>
                <a:gs pos="100000">
                  <a:srgbClr val="5DBD30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0" name="Google Shape;11020;p2"/>
            <p:cNvSpPr txBox="1"/>
            <p:nvPr/>
          </p:nvSpPr>
          <p:spPr>
            <a:xfrm>
              <a:off x="37467" y="3848396"/>
              <a:ext cx="7206415" cy="6925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3200"/>
                <a:buFont typeface="Calibri"/>
                <a:buNone/>
              </a:pPr>
              <a:r>
                <a:rPr lang="en-US" sz="3200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Additional Resources / Announcements</a:t>
              </a:r>
              <a:endParaRPr/>
            </a:p>
          </p:txBody>
        </p:sp>
        <p:sp>
          <p:nvSpPr>
            <p:cNvPr id="11021" name="Google Shape;11021;p2"/>
            <p:cNvSpPr/>
            <p:nvPr/>
          </p:nvSpPr>
          <p:spPr>
            <a:xfrm>
              <a:off x="0" y="4670609"/>
              <a:ext cx="7281349" cy="767520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rgbClr val="ACBC5F"/>
                </a:gs>
                <a:gs pos="50000">
                  <a:srgbClr val="A4B83F"/>
                </a:gs>
                <a:gs pos="100000">
                  <a:srgbClr val="94A733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2" name="Google Shape;11022;p2"/>
            <p:cNvSpPr txBox="1"/>
            <p:nvPr/>
          </p:nvSpPr>
          <p:spPr>
            <a:xfrm>
              <a:off x="37467" y="4708076"/>
              <a:ext cx="7206415" cy="6925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3200"/>
                <a:buFont typeface="Calibri"/>
                <a:buNone/>
              </a:pPr>
              <a:r>
                <a:rPr lang="en-US" sz="3200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Wrap Up</a:t>
              </a:r>
              <a:endParaRPr sz="320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21" name="Google Shape;4221;p43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  <a:ln>
            <a:noFill/>
          </a:ln>
        </p:spPr>
      </p:pic>
      <p:sp>
        <p:nvSpPr>
          <p:cNvPr id="4222" name="Google Shape;4222;p439"/>
          <p:cNvSpPr/>
          <p:nvPr/>
        </p:nvSpPr>
        <p:spPr>
          <a:xfrm>
            <a:off x="0" y="0"/>
            <a:ext cx="12196802" cy="6858000"/>
          </a:xfrm>
          <a:prstGeom prst="rect">
            <a:avLst/>
          </a:prstGeom>
          <a:gradFill>
            <a:gsLst>
              <a:gs pos="0">
                <a:srgbClr val="F3F6FB">
                  <a:alpha val="83921"/>
                </a:srgbClr>
              </a:gs>
              <a:gs pos="28000">
                <a:srgbClr val="F3F6FB">
                  <a:alpha val="83921"/>
                </a:srgbClr>
              </a:gs>
              <a:gs pos="74000">
                <a:schemeClr val="lt1"/>
              </a:gs>
              <a:gs pos="100000">
                <a:schemeClr val="lt1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23" name="Google Shape;4223;p439"/>
          <p:cNvSpPr txBox="1">
            <a:spLocks noGrp="1"/>
          </p:cNvSpPr>
          <p:nvPr>
            <p:ph type="title"/>
          </p:nvPr>
        </p:nvSpPr>
        <p:spPr>
          <a:xfrm>
            <a:off x="-42131" y="2863"/>
            <a:ext cx="12285108" cy="1344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Improving Respectful Care Requires Shared Decision-Making</a:t>
            </a:r>
            <a:endParaRPr/>
          </a:p>
        </p:txBody>
      </p:sp>
      <p:sp>
        <p:nvSpPr>
          <p:cNvPr id="4224" name="Google Shape;4224;p43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rgbClr val="9CA5AE"/>
                </a:solidFill>
              </a:rPr>
              <a:t>Illinois Perinatal Quality Collaborative</a:t>
            </a:r>
            <a:endParaRPr/>
          </a:p>
        </p:txBody>
      </p:sp>
      <p:sp>
        <p:nvSpPr>
          <p:cNvPr id="4225" name="Google Shape;4225;p43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>
                <a:solidFill>
                  <a:srgbClr val="9CA5AE"/>
                </a:solidFill>
              </a:rPr>
              <a:t>20</a:t>
            </a:fld>
            <a:endParaRPr>
              <a:solidFill>
                <a:srgbClr val="9CA5AE"/>
              </a:solidFill>
            </a:endParaRPr>
          </a:p>
        </p:txBody>
      </p:sp>
      <p:grpSp>
        <p:nvGrpSpPr>
          <p:cNvPr id="4226" name="Google Shape;4226;p439"/>
          <p:cNvGrpSpPr/>
          <p:nvPr/>
        </p:nvGrpSpPr>
        <p:grpSpPr>
          <a:xfrm>
            <a:off x="1230589" y="2400232"/>
            <a:ext cx="9743310" cy="3965632"/>
            <a:chOff x="7944" y="292786"/>
            <a:chExt cx="9743310" cy="3965632"/>
          </a:xfrm>
        </p:grpSpPr>
        <p:sp>
          <p:nvSpPr>
            <p:cNvPr id="4227" name="Google Shape;4227;p439"/>
            <p:cNvSpPr/>
            <p:nvPr/>
          </p:nvSpPr>
          <p:spPr>
            <a:xfrm>
              <a:off x="7944" y="292786"/>
              <a:ext cx="4817707" cy="1445312"/>
            </a:xfrm>
            <a:prstGeom prst="rect">
              <a:avLst/>
            </a:prstGeom>
            <a:solidFill>
              <a:srgbClr val="F58365"/>
            </a:solidFill>
            <a:ln w="12700" cap="flat" cmpd="sng">
              <a:solidFill>
                <a:srgbClr val="F5836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8" name="Google Shape;4228;p439"/>
            <p:cNvSpPr txBox="1"/>
            <p:nvPr/>
          </p:nvSpPr>
          <p:spPr>
            <a:xfrm>
              <a:off x="7944" y="292786"/>
              <a:ext cx="4817707" cy="144531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80700" tIns="380700" rIns="380700" bIns="3807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4900"/>
                <a:buFont typeface="Calibri"/>
                <a:buNone/>
              </a:pPr>
              <a:r>
                <a:rPr lang="en-US" sz="49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Recognizing</a:t>
              </a:r>
              <a:endParaRPr/>
            </a:p>
          </p:txBody>
        </p:sp>
        <p:sp>
          <p:nvSpPr>
            <p:cNvPr id="4229" name="Google Shape;4229;p439"/>
            <p:cNvSpPr/>
            <p:nvPr/>
          </p:nvSpPr>
          <p:spPr>
            <a:xfrm>
              <a:off x="7944" y="1738098"/>
              <a:ext cx="4817707" cy="2520320"/>
            </a:xfrm>
            <a:prstGeom prst="rect">
              <a:avLst/>
            </a:prstGeom>
            <a:solidFill>
              <a:srgbClr val="FBD8D2">
                <a:alpha val="89803"/>
              </a:srgbClr>
            </a:solidFill>
            <a:ln w="12700" cap="flat" cmpd="sng">
              <a:solidFill>
                <a:srgbClr val="FBD8D2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0" name="Google Shape;4230;p439"/>
            <p:cNvSpPr txBox="1"/>
            <p:nvPr/>
          </p:nvSpPr>
          <p:spPr>
            <a:xfrm>
              <a:off x="7944" y="1738098"/>
              <a:ext cx="4817707" cy="25203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75875" tIns="475875" rIns="475875" bIns="475875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Calibri"/>
                <a:buNone/>
              </a:pPr>
              <a:r>
                <a:rPr lang="en-US" sz="2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Patients as the experts of their own experience</a:t>
              </a:r>
              <a:endParaRPr/>
            </a:p>
          </p:txBody>
        </p:sp>
        <p:sp>
          <p:nvSpPr>
            <p:cNvPr id="4231" name="Google Shape;4231;p439"/>
            <p:cNvSpPr/>
            <p:nvPr/>
          </p:nvSpPr>
          <p:spPr>
            <a:xfrm>
              <a:off x="4933547" y="292786"/>
              <a:ext cx="4817707" cy="1445312"/>
            </a:xfrm>
            <a:prstGeom prst="rect">
              <a:avLst/>
            </a:prstGeom>
            <a:solidFill>
              <a:srgbClr val="F58365"/>
            </a:solidFill>
            <a:ln w="12700" cap="flat" cmpd="sng">
              <a:solidFill>
                <a:srgbClr val="F5836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2" name="Google Shape;4232;p439"/>
            <p:cNvSpPr txBox="1"/>
            <p:nvPr/>
          </p:nvSpPr>
          <p:spPr>
            <a:xfrm>
              <a:off x="4933547" y="292786"/>
              <a:ext cx="4817707" cy="144531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80700" tIns="380700" rIns="380700" bIns="3807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4900"/>
                <a:buFont typeface="Calibri"/>
                <a:buNone/>
              </a:pPr>
              <a:r>
                <a:rPr lang="en-US" sz="49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Empowering</a:t>
              </a:r>
              <a:endParaRPr/>
            </a:p>
          </p:txBody>
        </p:sp>
        <p:sp>
          <p:nvSpPr>
            <p:cNvPr id="4233" name="Google Shape;4233;p439"/>
            <p:cNvSpPr/>
            <p:nvPr/>
          </p:nvSpPr>
          <p:spPr>
            <a:xfrm>
              <a:off x="4933547" y="1738098"/>
              <a:ext cx="4817707" cy="2520320"/>
            </a:xfrm>
            <a:prstGeom prst="rect">
              <a:avLst/>
            </a:prstGeom>
            <a:solidFill>
              <a:srgbClr val="FBD8D2">
                <a:alpha val="89803"/>
              </a:srgbClr>
            </a:solidFill>
            <a:ln w="12700" cap="flat" cmpd="sng">
              <a:solidFill>
                <a:srgbClr val="FBD8D2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4" name="Google Shape;4234;p439"/>
            <p:cNvSpPr txBox="1"/>
            <p:nvPr/>
          </p:nvSpPr>
          <p:spPr>
            <a:xfrm>
              <a:off x="4933547" y="1738098"/>
              <a:ext cx="4817707" cy="25203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75875" tIns="475875" rIns="475875" bIns="475875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800"/>
                <a:buFont typeface="Calibri"/>
                <a:buNone/>
              </a:pPr>
              <a:r>
                <a:rPr lang="en-US" sz="2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Patients to make choices through accessible, nonjudgmental communication</a:t>
              </a:r>
              <a:endParaRPr/>
            </a:p>
          </p:txBody>
        </p:sp>
      </p:grpSp>
      <p:sp>
        <p:nvSpPr>
          <p:cNvPr id="4235" name="Google Shape;4235;p439"/>
          <p:cNvSpPr txBox="1"/>
          <p:nvPr/>
        </p:nvSpPr>
        <p:spPr>
          <a:xfrm>
            <a:off x="1290101" y="1015338"/>
            <a:ext cx="9606625" cy="1323399"/>
          </a:xfrm>
          <a:prstGeom prst="rect">
            <a:avLst/>
          </a:prstGeom>
          <a:noFill/>
          <a:ln w="9525" cap="flat" cmpd="sng">
            <a:solidFill>
              <a:srgbClr val="4472C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2900" indent="-342900" algn="ctr"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20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3% of BIPOC patients (10% white patients) report feeling </a:t>
            </a:r>
            <a:r>
              <a:rPr lang="en-US" sz="2000" b="1" u="sng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essured</a:t>
            </a:r>
            <a:r>
              <a:rPr lang="en-US" sz="20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into accepting care they did not want</a:t>
            </a:r>
            <a:endParaRPr sz="18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342900" indent="-342900" algn="ctr"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20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ver 20% of all patients report that when the health care team did not meet their wishes, they did </a:t>
            </a:r>
            <a:r>
              <a:rPr lang="en-US" sz="2000" b="1" u="sng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ot</a:t>
            </a:r>
            <a:r>
              <a:rPr lang="en-US" sz="20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explain why</a:t>
            </a:r>
            <a:endParaRPr sz="18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97693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89" name="Google Shape;11189;p1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REDCap PREM Data Dashboard Review</a:t>
            </a:r>
            <a:endParaRPr/>
          </a:p>
        </p:txBody>
      </p:sp>
      <p:sp>
        <p:nvSpPr>
          <p:cNvPr id="11190" name="Google Shape;11190;p1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95" name="Google Shape;11195;p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PREM Survey Dashboard Review – Accessing Data</a:t>
            </a:r>
            <a:endParaRPr/>
          </a:p>
        </p:txBody>
      </p:sp>
      <p:sp>
        <p:nvSpPr>
          <p:cNvPr id="11196" name="Google Shape;11196;p1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AutoNum type="arabicPeriod"/>
            </a:pPr>
            <a:r>
              <a:rPr lang="en-US"/>
              <a:t>Log into REDCap account</a:t>
            </a:r>
            <a:endParaRPr/>
          </a:p>
          <a:p>
            <a:pPr marL="457200" lvl="0" indent="-4572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SzPts val="2400"/>
              <a:buAutoNum type="arabicPeriod"/>
            </a:pPr>
            <a:r>
              <a:rPr lang="en-US"/>
              <a:t>Open "Patient Reported Experience Measure (PREM) - English" project</a:t>
            </a:r>
            <a:endParaRPr/>
          </a:p>
        </p:txBody>
      </p:sp>
      <p:sp>
        <p:nvSpPr>
          <p:cNvPr id="11197" name="Google Shape;11197;p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2</a:t>
            </a:fld>
            <a:endParaRPr/>
          </a:p>
        </p:txBody>
      </p:sp>
      <p:sp>
        <p:nvSpPr>
          <p:cNvPr id="11198" name="Google Shape;11198;p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11199" name="Google Shape;11199;p16"/>
          <p:cNvSpPr/>
          <p:nvPr/>
        </p:nvSpPr>
        <p:spPr>
          <a:xfrm>
            <a:off x="805961" y="4847980"/>
            <a:ext cx="1152769" cy="205153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FF0000"/>
          </a:solidFill>
          <a:ln w="127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00" name="Google Shape;11200;p16"/>
          <p:cNvSpPr txBox="1"/>
          <p:nvPr/>
        </p:nvSpPr>
        <p:spPr>
          <a:xfrm>
            <a:off x="266700" y="3028950"/>
            <a:ext cx="1593272" cy="2031325"/>
          </a:xfrm>
          <a:prstGeom prst="rect">
            <a:avLst/>
          </a:prstGeom>
          <a:solidFill>
            <a:srgbClr val="FDDFE8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ubmissions from all languages are available in the English Reports for hospital teams</a:t>
            </a: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201" name="Google Shape;11201;p16" descr="A screenshot of a computer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013098" y="2983448"/>
            <a:ext cx="8201246" cy="337203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6" name="Google Shape;11206;p1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6723185" cy="134510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PREM Survey Dashboard Review – Accessing Data</a:t>
            </a:r>
            <a:endParaRPr/>
          </a:p>
        </p:txBody>
      </p:sp>
      <p:sp>
        <p:nvSpPr>
          <p:cNvPr id="11207" name="Google Shape;11207;p1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/>
              <a:t>3. Go to "Project Bookmarks" and click on "Reports"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SzPts val="2400"/>
              <a:buNone/>
            </a:pPr>
            <a:r>
              <a:rPr lang="en-US"/>
              <a:t>4. Enter 3-digit Hospital ID and click "Go"</a:t>
            </a:r>
            <a:endParaRPr/>
          </a:p>
        </p:txBody>
      </p:sp>
      <p:sp>
        <p:nvSpPr>
          <p:cNvPr id="11208" name="Google Shape;11208;p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3</a:t>
            </a:fld>
            <a:endParaRPr/>
          </a:p>
        </p:txBody>
      </p:sp>
      <p:sp>
        <p:nvSpPr>
          <p:cNvPr id="11209" name="Google Shape;11209;p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11210" name="Google Shape;11210;p17"/>
          <p:cNvSpPr/>
          <p:nvPr/>
        </p:nvSpPr>
        <p:spPr>
          <a:xfrm>
            <a:off x="7165730" y="5189903"/>
            <a:ext cx="1152769" cy="205153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FF0000"/>
          </a:solidFill>
          <a:ln w="127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211" name="Google Shape;11211;p17" descr="Graphical user interface, application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380212" y="72293"/>
            <a:ext cx="3217652" cy="6635260"/>
          </a:xfrm>
          <a:prstGeom prst="rect">
            <a:avLst/>
          </a:prstGeom>
          <a:noFill/>
          <a:ln>
            <a:noFill/>
          </a:ln>
        </p:spPr>
      </p:pic>
      <p:sp>
        <p:nvSpPr>
          <p:cNvPr id="11212" name="Google Shape;11212;p17"/>
          <p:cNvSpPr/>
          <p:nvPr/>
        </p:nvSpPr>
        <p:spPr>
          <a:xfrm>
            <a:off x="8384442" y="4850423"/>
            <a:ext cx="3204306" cy="595923"/>
          </a:xfrm>
          <a:prstGeom prst="rect">
            <a:avLst/>
          </a:prstGeom>
          <a:noFill/>
          <a:ln w="127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213" name="Google Shape;11213;p17" descr="Graphical user interface, application, website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97169" y="2872148"/>
            <a:ext cx="4501661" cy="3487628"/>
          </a:xfrm>
          <a:prstGeom prst="rect">
            <a:avLst/>
          </a:prstGeom>
          <a:noFill/>
          <a:ln>
            <a:noFill/>
          </a:ln>
        </p:spPr>
      </p:pic>
      <p:sp>
        <p:nvSpPr>
          <p:cNvPr id="11214" name="Google Shape;11214;p17"/>
          <p:cNvSpPr/>
          <p:nvPr/>
        </p:nvSpPr>
        <p:spPr>
          <a:xfrm>
            <a:off x="1448288" y="4996961"/>
            <a:ext cx="3204306" cy="595923"/>
          </a:xfrm>
          <a:prstGeom prst="rect">
            <a:avLst/>
          </a:prstGeom>
          <a:noFill/>
          <a:ln w="127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15" name="Google Shape;11215;p17"/>
          <p:cNvSpPr/>
          <p:nvPr/>
        </p:nvSpPr>
        <p:spPr>
          <a:xfrm>
            <a:off x="380999" y="5336441"/>
            <a:ext cx="976923" cy="107461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FF0000"/>
          </a:solidFill>
          <a:ln w="127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20" name="Google Shape;11220;p18" descr="A screenshot of a survey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668772" y="1622449"/>
            <a:ext cx="9530316" cy="4664543"/>
          </a:xfrm>
          <a:prstGeom prst="rect">
            <a:avLst/>
          </a:prstGeom>
          <a:noFill/>
          <a:ln>
            <a:noFill/>
          </a:ln>
        </p:spPr>
      </p:pic>
      <p:sp>
        <p:nvSpPr>
          <p:cNvPr id="11221" name="Google Shape;11221;p18"/>
          <p:cNvSpPr txBox="1">
            <a:spLocks noGrp="1"/>
          </p:cNvSpPr>
          <p:nvPr>
            <p:ph type="title"/>
          </p:nvPr>
        </p:nvSpPr>
        <p:spPr>
          <a:xfrm>
            <a:off x="23446" y="3663"/>
            <a:ext cx="6723185" cy="134510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PREM Survey Dashboard Review – Accessing Data</a:t>
            </a:r>
            <a:endParaRPr/>
          </a:p>
        </p:txBody>
      </p:sp>
      <p:sp>
        <p:nvSpPr>
          <p:cNvPr id="11222" name="Google Shape;11222;p18"/>
          <p:cNvSpPr txBox="1">
            <a:spLocks noGrp="1"/>
          </p:cNvSpPr>
          <p:nvPr>
            <p:ph type="body" idx="1"/>
          </p:nvPr>
        </p:nvSpPr>
        <p:spPr>
          <a:xfrm>
            <a:off x="177254" y="1495742"/>
            <a:ext cx="2561492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</a:pPr>
            <a:r>
              <a:rPr lang="en-US" sz="2000"/>
              <a:t>5. Click through each of the numbered items to see PREM responses by question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SzPts val="2000"/>
              <a:buNone/>
            </a:pPr>
            <a:r>
              <a:rPr lang="en-US" sz="2000"/>
              <a:t>NEW FEATURE – keywords for each report to help users navigate to the correct report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SzPts val="1800"/>
              <a:buNone/>
            </a:pPr>
            <a:r>
              <a:rPr lang="en-US" sz="1800"/>
              <a:t>(Q15 shows the percent of total deliveries with patient reported experience measure (PREM) completion)</a:t>
            </a:r>
            <a:endParaRPr sz="1800"/>
          </a:p>
        </p:txBody>
      </p:sp>
      <p:sp>
        <p:nvSpPr>
          <p:cNvPr id="11223" name="Google Shape;11223;p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4</a:t>
            </a:fld>
            <a:endParaRPr/>
          </a:p>
        </p:txBody>
      </p:sp>
      <p:sp>
        <p:nvSpPr>
          <p:cNvPr id="11224" name="Google Shape;11224;p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11225" name="Google Shape;11225;p18"/>
          <p:cNvSpPr/>
          <p:nvPr/>
        </p:nvSpPr>
        <p:spPr>
          <a:xfrm>
            <a:off x="3340793" y="2070737"/>
            <a:ext cx="8725058" cy="1017816"/>
          </a:xfrm>
          <a:prstGeom prst="rect">
            <a:avLst/>
          </a:prstGeom>
          <a:noFill/>
          <a:ln w="127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26" name="Google Shape;11226;p18"/>
          <p:cNvSpPr/>
          <p:nvPr/>
        </p:nvSpPr>
        <p:spPr>
          <a:xfrm rot="1980000">
            <a:off x="2256190" y="2089344"/>
            <a:ext cx="1045307" cy="224691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FF0000"/>
          </a:solidFill>
          <a:ln w="127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31" name="Google Shape;11231;p19"/>
          <p:cNvSpPr txBox="1">
            <a:spLocks noGrp="1"/>
          </p:cNvSpPr>
          <p:nvPr>
            <p:ph type="title"/>
          </p:nvPr>
        </p:nvSpPr>
        <p:spPr>
          <a:xfrm>
            <a:off x="23446" y="3663"/>
            <a:ext cx="6723185" cy="134510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PREM Survey Dashboard Review – Accessing Data</a:t>
            </a:r>
            <a:endParaRPr/>
          </a:p>
        </p:txBody>
      </p:sp>
      <p:sp>
        <p:nvSpPr>
          <p:cNvPr id="11232" name="Google Shape;11232;p19"/>
          <p:cNvSpPr txBox="1">
            <a:spLocks noGrp="1"/>
          </p:cNvSpPr>
          <p:nvPr>
            <p:ph type="body" idx="1"/>
          </p:nvPr>
        </p:nvSpPr>
        <p:spPr>
          <a:xfrm>
            <a:off x="248138" y="1718163"/>
            <a:ext cx="2151185" cy="4341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/>
              <a:t>6. To view data by month or quarter, use this drop-down menu</a:t>
            </a:r>
            <a:endParaRPr/>
          </a:p>
        </p:txBody>
      </p:sp>
      <p:sp>
        <p:nvSpPr>
          <p:cNvPr id="11233" name="Google Shape;11233;p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5</a:t>
            </a:fld>
            <a:endParaRPr/>
          </a:p>
        </p:txBody>
      </p:sp>
      <p:sp>
        <p:nvSpPr>
          <p:cNvPr id="11234" name="Google Shape;11234;p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pic>
        <p:nvPicPr>
          <p:cNvPr id="11235" name="Google Shape;11235;p19" descr="Chart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409091" y="1350981"/>
            <a:ext cx="9708662" cy="4634730"/>
          </a:xfrm>
          <a:prstGeom prst="rect">
            <a:avLst/>
          </a:prstGeom>
          <a:noFill/>
          <a:ln>
            <a:noFill/>
          </a:ln>
        </p:spPr>
      </p:pic>
      <p:sp>
        <p:nvSpPr>
          <p:cNvPr id="11236" name="Google Shape;11236;p19"/>
          <p:cNvSpPr/>
          <p:nvPr/>
        </p:nvSpPr>
        <p:spPr>
          <a:xfrm rot="1980000">
            <a:off x="3192900" y="2767738"/>
            <a:ext cx="1045307" cy="224691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FF0000"/>
          </a:solidFill>
          <a:ln w="127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37" name="Google Shape;11237;p19"/>
          <p:cNvSpPr/>
          <p:nvPr/>
        </p:nvSpPr>
        <p:spPr>
          <a:xfrm>
            <a:off x="3998056" y="3255596"/>
            <a:ext cx="1250461" cy="2735384"/>
          </a:xfrm>
          <a:prstGeom prst="rect">
            <a:avLst/>
          </a:prstGeom>
          <a:noFill/>
          <a:ln w="127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2" name="Google Shape;11242;p20"/>
          <p:cNvSpPr txBox="1">
            <a:spLocks noGrp="1"/>
          </p:cNvSpPr>
          <p:nvPr>
            <p:ph type="title"/>
          </p:nvPr>
        </p:nvSpPr>
        <p:spPr>
          <a:xfrm>
            <a:off x="23446" y="3663"/>
            <a:ext cx="6723185" cy="134510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PREM Survey Dashboard Review – Accessing Data</a:t>
            </a:r>
            <a:endParaRPr/>
          </a:p>
        </p:txBody>
      </p:sp>
      <p:sp>
        <p:nvSpPr>
          <p:cNvPr id="11243" name="Google Shape;11243;p20"/>
          <p:cNvSpPr txBox="1">
            <a:spLocks noGrp="1"/>
          </p:cNvSpPr>
          <p:nvPr>
            <p:ph type="body" idx="1"/>
          </p:nvPr>
        </p:nvSpPr>
        <p:spPr>
          <a:xfrm>
            <a:off x="248138" y="1718163"/>
            <a:ext cx="2151185" cy="4341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/>
              <a:t>If you want to view data by a specific month, remember to change the Month/Quarter toggle to "Monthly"!</a:t>
            </a:r>
            <a:endParaRPr/>
          </a:p>
        </p:txBody>
      </p:sp>
      <p:sp>
        <p:nvSpPr>
          <p:cNvPr id="11244" name="Google Shape;11244;p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6</a:t>
            </a:fld>
            <a:endParaRPr/>
          </a:p>
        </p:txBody>
      </p:sp>
      <p:sp>
        <p:nvSpPr>
          <p:cNvPr id="11245" name="Google Shape;11245;p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pic>
        <p:nvPicPr>
          <p:cNvPr id="11246" name="Google Shape;11246;p20" descr="Chart, waterfall chart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409092" y="1425829"/>
            <a:ext cx="9845430" cy="4924649"/>
          </a:xfrm>
          <a:prstGeom prst="rect">
            <a:avLst/>
          </a:prstGeom>
          <a:noFill/>
          <a:ln>
            <a:noFill/>
          </a:ln>
        </p:spPr>
      </p:pic>
      <p:sp>
        <p:nvSpPr>
          <p:cNvPr id="11247" name="Google Shape;11247;p20"/>
          <p:cNvSpPr/>
          <p:nvPr/>
        </p:nvSpPr>
        <p:spPr>
          <a:xfrm rot="2700000">
            <a:off x="5400746" y="2806815"/>
            <a:ext cx="1045307" cy="224691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FF0000"/>
          </a:solidFill>
          <a:ln w="127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48" name="Google Shape;11248;p20"/>
          <p:cNvSpPr/>
          <p:nvPr/>
        </p:nvSpPr>
        <p:spPr>
          <a:xfrm>
            <a:off x="3880826" y="3275134"/>
            <a:ext cx="1113692" cy="517769"/>
          </a:xfrm>
          <a:prstGeom prst="rect">
            <a:avLst/>
          </a:prstGeom>
          <a:noFill/>
          <a:ln w="127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49" name="Google Shape;11249;p20"/>
          <p:cNvSpPr/>
          <p:nvPr/>
        </p:nvSpPr>
        <p:spPr>
          <a:xfrm>
            <a:off x="5815133" y="3275134"/>
            <a:ext cx="1113692" cy="517769"/>
          </a:xfrm>
          <a:prstGeom prst="rect">
            <a:avLst/>
          </a:prstGeom>
          <a:noFill/>
          <a:ln w="127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54" name="Google Shape;11254;p21"/>
          <p:cNvSpPr txBox="1">
            <a:spLocks noGrp="1"/>
          </p:cNvSpPr>
          <p:nvPr>
            <p:ph type="title"/>
          </p:nvPr>
        </p:nvSpPr>
        <p:spPr>
          <a:xfrm>
            <a:off x="23446" y="3663"/>
            <a:ext cx="6723185" cy="1345101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PREM Survey Dashboard Review – Accessing Data</a:t>
            </a:r>
            <a:endParaRPr/>
          </a:p>
        </p:txBody>
      </p:sp>
      <p:sp>
        <p:nvSpPr>
          <p:cNvPr id="11255" name="Google Shape;11255;p21"/>
          <p:cNvSpPr txBox="1">
            <a:spLocks noGrp="1"/>
          </p:cNvSpPr>
          <p:nvPr>
            <p:ph type="body" idx="1"/>
          </p:nvPr>
        </p:nvSpPr>
        <p:spPr>
          <a:xfrm>
            <a:off x="248138" y="1718163"/>
            <a:ext cx="2151185" cy="4341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/>
              <a:t>7. To stratify data by race/ethnicity or insurance status, use the "Report Stratifier" drop-down menu</a:t>
            </a:r>
            <a:endParaRPr/>
          </a:p>
        </p:txBody>
      </p:sp>
      <p:sp>
        <p:nvSpPr>
          <p:cNvPr id="11256" name="Google Shape;11256;p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7</a:t>
            </a:fld>
            <a:endParaRPr/>
          </a:p>
        </p:txBody>
      </p:sp>
      <p:sp>
        <p:nvSpPr>
          <p:cNvPr id="11257" name="Google Shape;11257;p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pic>
        <p:nvPicPr>
          <p:cNvPr id="11258" name="Google Shape;11258;p2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233246" y="1540089"/>
            <a:ext cx="9962660" cy="4774282"/>
          </a:xfrm>
          <a:prstGeom prst="rect">
            <a:avLst/>
          </a:prstGeom>
          <a:noFill/>
          <a:ln>
            <a:noFill/>
          </a:ln>
        </p:spPr>
      </p:pic>
      <p:sp>
        <p:nvSpPr>
          <p:cNvPr id="11259" name="Google Shape;11259;p21"/>
          <p:cNvSpPr/>
          <p:nvPr/>
        </p:nvSpPr>
        <p:spPr>
          <a:xfrm rot="1980000">
            <a:off x="5967362" y="3051046"/>
            <a:ext cx="1045307" cy="224691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FF0000"/>
          </a:solidFill>
          <a:ln w="127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60" name="Google Shape;11260;p21"/>
          <p:cNvSpPr/>
          <p:nvPr/>
        </p:nvSpPr>
        <p:spPr>
          <a:xfrm>
            <a:off x="6752979" y="3470519"/>
            <a:ext cx="1201615" cy="1211384"/>
          </a:xfrm>
          <a:prstGeom prst="rect">
            <a:avLst/>
          </a:prstGeom>
          <a:noFill/>
          <a:ln w="12700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Google Shape;11265;p22"/>
          <p:cNvSpPr txBox="1">
            <a:spLocks noGrp="1"/>
          </p:cNvSpPr>
          <p:nvPr>
            <p:ph type="title"/>
          </p:nvPr>
        </p:nvSpPr>
        <p:spPr>
          <a:xfrm>
            <a:off x="-1881" y="-1764"/>
            <a:ext cx="7134578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PREM Survey Dashboard Review – Accessing Data</a:t>
            </a:r>
            <a:endParaRPr/>
          </a:p>
        </p:txBody>
      </p:sp>
      <p:sp>
        <p:nvSpPr>
          <p:cNvPr id="11266" name="Google Shape;11266;p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8</a:t>
            </a:fld>
            <a:endParaRPr/>
          </a:p>
        </p:txBody>
      </p:sp>
      <p:sp>
        <p:nvSpPr>
          <p:cNvPr id="11267" name="Google Shape;11267;p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11268" name="Google Shape;11268;p22"/>
          <p:cNvSpPr txBox="1"/>
          <p:nvPr/>
        </p:nvSpPr>
        <p:spPr>
          <a:xfrm>
            <a:off x="136516" y="1530344"/>
            <a:ext cx="2032000" cy="49552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. Report 15 shows the percent of total deliveries with PREM completion.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0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elect your time period on the M/Q/Y toggle! Make sure to also select your Hospital ID under 'HospitalId'!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269" name="Google Shape;11269;p22" descr="A screenshot of a report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290725" y="1424180"/>
            <a:ext cx="8851013" cy="486024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4" name="Google Shape;11274;p23"/>
          <p:cNvSpPr txBox="1">
            <a:spLocks noGrp="1"/>
          </p:cNvSpPr>
          <p:nvPr>
            <p:ph type="title"/>
          </p:nvPr>
        </p:nvSpPr>
        <p:spPr>
          <a:xfrm>
            <a:off x="77972" y="69776"/>
            <a:ext cx="7227777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PREM Survey Dashboard Review – Accessing Data</a:t>
            </a:r>
            <a:endParaRPr/>
          </a:p>
        </p:txBody>
      </p:sp>
      <p:sp>
        <p:nvSpPr>
          <p:cNvPr id="11275" name="Google Shape;11275;p23"/>
          <p:cNvSpPr txBox="1">
            <a:spLocks noGrp="1"/>
          </p:cNvSpPr>
          <p:nvPr>
            <p:ph type="body" idx="1"/>
          </p:nvPr>
        </p:nvSpPr>
        <p:spPr>
          <a:xfrm>
            <a:off x="1628" y="1713392"/>
            <a:ext cx="3199886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Char char="•"/>
            </a:pPr>
            <a:r>
              <a:rPr lang="en-US" sz="2000"/>
              <a:t>Report 15 also shares monthly/quarterly/yearly PREM responses with race, ethnicity, and insurance breakdowns</a:t>
            </a:r>
            <a:endParaRPr/>
          </a:p>
          <a:p>
            <a:pPr marL="228600" lvl="0" indent="-2286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SzPts val="2000"/>
              <a:buChar char="•"/>
            </a:pPr>
            <a:r>
              <a:rPr lang="en-US" sz="2000"/>
              <a:t>Pie charts are a great visualization tool to add to abstracts, team meetings, etc.!</a:t>
            </a:r>
            <a:endParaRPr sz="2000"/>
          </a:p>
        </p:txBody>
      </p:sp>
      <p:sp>
        <p:nvSpPr>
          <p:cNvPr id="11276" name="Google Shape;11276;p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9</a:t>
            </a:fld>
            <a:endParaRPr/>
          </a:p>
        </p:txBody>
      </p:sp>
      <p:sp>
        <p:nvSpPr>
          <p:cNvPr id="11277" name="Google Shape;11277;p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pic>
        <p:nvPicPr>
          <p:cNvPr id="11278" name="Google Shape;11278;p23" descr="A screenshot of a computer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049438" y="1259632"/>
            <a:ext cx="9126746" cy="22899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279" name="Google Shape;11279;p23" descr="A screenshot of a graph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150080" y="3656267"/>
            <a:ext cx="8997350" cy="320450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10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28" name="Google Shape;11028;p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29" name="Google Shape;11029;p3"/>
          <p:cNvSpPr/>
          <p:nvPr/>
        </p:nvSpPr>
        <p:spPr>
          <a:xfrm rot="-2700000" flipH="1">
            <a:off x="-376156" y="-253670"/>
            <a:ext cx="1827638" cy="1376989"/>
          </a:xfrm>
          <a:custGeom>
            <a:avLst/>
            <a:gdLst/>
            <a:ahLst/>
            <a:cxnLst/>
            <a:rect l="l" t="t" r="r" b="b"/>
            <a:pathLst>
              <a:path w="1827638" h="1376989" extrusionOk="0">
                <a:moveTo>
                  <a:pt x="0" y="987379"/>
                </a:moveTo>
                <a:lnTo>
                  <a:pt x="987379" y="0"/>
                </a:lnTo>
                <a:lnTo>
                  <a:pt x="1827638" y="840260"/>
                </a:lnTo>
                <a:lnTo>
                  <a:pt x="1827638" y="1376989"/>
                </a:lnTo>
                <a:lnTo>
                  <a:pt x="0" y="1376989"/>
                </a:lnTo>
                <a:close/>
              </a:path>
            </a:pathLst>
          </a:custGeom>
          <a:solidFill>
            <a:schemeClr val="accent1">
              <a:alpha val="2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30" name="Google Shape;11030;p3"/>
          <p:cNvSpPr/>
          <p:nvPr/>
        </p:nvSpPr>
        <p:spPr>
          <a:xfrm rot="-2700000" flipH="1">
            <a:off x="891641" y="422146"/>
            <a:ext cx="645368" cy="645368"/>
          </a:xfrm>
          <a:prstGeom prst="rect">
            <a:avLst/>
          </a:prstGeom>
          <a:solidFill>
            <a:schemeClr val="accent1">
              <a:alpha val="2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31" name="Google Shape;11031;p3"/>
          <p:cNvSpPr/>
          <p:nvPr/>
        </p:nvSpPr>
        <p:spPr>
          <a:xfrm rot="-2700000" flipH="1">
            <a:off x="10043482" y="655140"/>
            <a:ext cx="687472" cy="687472"/>
          </a:xfrm>
          <a:prstGeom prst="rect">
            <a:avLst/>
          </a:prstGeom>
          <a:solidFill>
            <a:schemeClr val="accent4">
              <a:alpha val="2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32" name="Google Shape;11032;p3"/>
          <p:cNvSpPr/>
          <p:nvPr/>
        </p:nvSpPr>
        <p:spPr>
          <a:xfrm rot="10800000" flipH="1">
            <a:off x="9356643" y="0"/>
            <a:ext cx="2835357" cy="1480837"/>
          </a:xfrm>
          <a:custGeom>
            <a:avLst/>
            <a:gdLst/>
            <a:ahLst/>
            <a:cxnLst/>
            <a:rect l="l" t="t" r="r" b="b"/>
            <a:pathLst>
              <a:path w="2835357" h="1480837" extrusionOk="0">
                <a:moveTo>
                  <a:pt x="2835357" y="1480837"/>
                </a:moveTo>
                <a:lnTo>
                  <a:pt x="0" y="1480837"/>
                </a:lnTo>
                <a:lnTo>
                  <a:pt x="1552727" y="0"/>
                </a:lnTo>
                <a:lnTo>
                  <a:pt x="2835357" y="1223245"/>
                </a:lnTo>
                <a:close/>
              </a:path>
            </a:pathLst>
          </a:custGeom>
          <a:solidFill>
            <a:schemeClr val="accent4">
              <a:alpha val="2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33" name="Google Shape;11033;p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11034" name="Google Shape;11034;p3"/>
          <p:cNvSpPr txBox="1">
            <a:spLocks noGrp="1"/>
          </p:cNvSpPr>
          <p:nvPr>
            <p:ph type="sldNum" idx="12"/>
          </p:nvPr>
        </p:nvSpPr>
        <p:spPr>
          <a:xfrm>
            <a:off x="8805333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</a:t>
            </a:fld>
            <a:endParaRPr/>
          </a:p>
        </p:txBody>
      </p:sp>
      <p:sp>
        <p:nvSpPr>
          <p:cNvPr id="11035" name="Google Shape;11035;p3"/>
          <p:cNvSpPr/>
          <p:nvPr/>
        </p:nvSpPr>
        <p:spPr>
          <a:xfrm flipH="1">
            <a:off x="7976344" y="6115501"/>
            <a:ext cx="1494513" cy="742499"/>
          </a:xfrm>
          <a:prstGeom prst="triangle">
            <a:avLst>
              <a:gd name="adj" fmla="val 50000"/>
            </a:avLst>
          </a:prstGeom>
          <a:solidFill>
            <a:schemeClr val="accent1">
              <a:alpha val="2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036" name="Google Shape;11036;p3" descr="A person holding a baby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046881" y="158558"/>
            <a:ext cx="7779219" cy="6492877"/>
          </a:xfrm>
          <a:prstGeom prst="rect">
            <a:avLst/>
          </a:prstGeom>
          <a:noFill/>
          <a:ln>
            <a:noFill/>
          </a:ln>
        </p:spPr>
      </p:pic>
      <p:sp>
        <p:nvSpPr>
          <p:cNvPr id="11037" name="Google Shape;11037;p3"/>
          <p:cNvSpPr/>
          <p:nvPr/>
        </p:nvSpPr>
        <p:spPr>
          <a:xfrm flipH="1">
            <a:off x="7604080" y="6453143"/>
            <a:ext cx="814903" cy="404857"/>
          </a:xfrm>
          <a:prstGeom prst="triangle">
            <a:avLst>
              <a:gd name="adj" fmla="val 50000"/>
            </a:avLst>
          </a:prstGeom>
          <a:solidFill>
            <a:schemeClr val="accent1">
              <a:alpha val="2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84" name="Google Shape;11284;p24"/>
          <p:cNvSpPr txBox="1">
            <a:spLocks noGrp="1"/>
          </p:cNvSpPr>
          <p:nvPr>
            <p:ph type="title"/>
          </p:nvPr>
        </p:nvSpPr>
        <p:spPr>
          <a:xfrm>
            <a:off x="113414" y="93404"/>
            <a:ext cx="6814289" cy="13373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 dirty="0"/>
              <a:t>PREM Survey Dashboard Review – Accessing Data</a:t>
            </a:r>
            <a:endParaRPr dirty="0"/>
          </a:p>
        </p:txBody>
      </p:sp>
      <p:sp>
        <p:nvSpPr>
          <p:cNvPr id="11285" name="Google Shape;11285;p24"/>
          <p:cNvSpPr txBox="1">
            <a:spLocks noGrp="1"/>
          </p:cNvSpPr>
          <p:nvPr>
            <p:ph type="body" idx="1"/>
          </p:nvPr>
        </p:nvSpPr>
        <p:spPr>
          <a:xfrm>
            <a:off x="113582" y="1667474"/>
            <a:ext cx="3280913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Char char="•"/>
            </a:pPr>
            <a:r>
              <a:rPr lang="en-US" sz="2000" dirty="0"/>
              <a:t>Report 16 is the PREM summary dashboard. Teams can view both ILPQC total (ID: 999) or hospital-specific summaries of PREM responses. Make sure to select the correct hospital ID!</a:t>
            </a:r>
            <a:endParaRPr/>
          </a:p>
          <a:p>
            <a:pPr marL="228600" indent="-228600">
              <a:spcBef>
                <a:spcPts val="2000"/>
              </a:spcBef>
              <a:buSzPts val="2000"/>
            </a:pPr>
            <a:r>
              <a:rPr lang="en-US" sz="2000" dirty="0"/>
              <a:t>Opportunity to review summary data stratified by race/ethnicity AND insurance status!</a:t>
            </a:r>
            <a:endParaRPr dirty="0"/>
          </a:p>
        </p:txBody>
      </p:sp>
      <p:sp>
        <p:nvSpPr>
          <p:cNvPr id="11286" name="Google Shape;11286;p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0</a:t>
            </a:fld>
            <a:endParaRPr/>
          </a:p>
        </p:txBody>
      </p:sp>
      <p:sp>
        <p:nvSpPr>
          <p:cNvPr id="11287" name="Google Shape;11287;p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Illinois Perinatal Quality Collaborative</a:t>
            </a:r>
            <a:endParaRPr dirty="0"/>
          </a:p>
        </p:txBody>
      </p:sp>
      <p:pic>
        <p:nvPicPr>
          <p:cNvPr id="2" name="Picture 1" descr="A screenshot of a computer&#10;&#10;Description automatically generated">
            <a:extLst>
              <a:ext uri="{FF2B5EF4-FFF2-40B4-BE49-F238E27FC236}">
                <a16:creationId xmlns:a16="http://schemas.microsoft.com/office/drawing/2014/main" id="{4BCC6993-871E-C8DB-3561-746889FE0B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7609" y="1318840"/>
            <a:ext cx="8815571" cy="4698784"/>
          </a:xfrm>
          <a:prstGeom prst="rect">
            <a:avLst/>
          </a:prstGeom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5F07D4-8774-0928-CF5B-14ABB160E5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76102"/>
            <a:ext cx="7783033" cy="1337376"/>
          </a:xfrm>
        </p:spPr>
        <p:txBody>
          <a:bodyPr/>
          <a:lstStyle/>
          <a:p>
            <a:r>
              <a:rPr lang="en-US" dirty="0"/>
              <a:t>Summary Dashboard (Report 16) Continu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C451D8-864F-870B-7921-AABEFBB552B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1</a:t>
            </a:fld>
            <a:endParaRPr lang="en-US"/>
          </a:p>
        </p:txBody>
      </p:sp>
      <p:pic>
        <p:nvPicPr>
          <p:cNvPr id="6" name="Picture 5" descr="A green and white graph with numbers&#10;&#10;Description automatically generated">
            <a:extLst>
              <a:ext uri="{FF2B5EF4-FFF2-40B4-BE49-F238E27FC236}">
                <a16:creationId xmlns:a16="http://schemas.microsoft.com/office/drawing/2014/main" id="{79A5CBCF-0E7F-AB1D-2F8E-623188C1C9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307" y="1551479"/>
            <a:ext cx="11532780" cy="4452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7548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1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93" name="Google Shape;11293;p25"/>
          <p:cNvSpPr/>
          <p:nvPr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94" name="Google Shape;11294;p25"/>
          <p:cNvSpPr/>
          <p:nvPr/>
        </p:nvSpPr>
        <p:spPr>
          <a:xfrm>
            <a:off x="1768100" y="-1"/>
            <a:ext cx="10423900" cy="5920155"/>
          </a:xfrm>
          <a:custGeom>
            <a:avLst/>
            <a:gdLst/>
            <a:ahLst/>
            <a:cxnLst/>
            <a:rect l="l" t="t" r="r" b="b"/>
            <a:pathLst>
              <a:path w="10423900" h="5491534" extrusionOk="0">
                <a:moveTo>
                  <a:pt x="10423900" y="0"/>
                </a:moveTo>
                <a:lnTo>
                  <a:pt x="3493157" y="0"/>
                </a:lnTo>
                <a:lnTo>
                  <a:pt x="3493018" y="31"/>
                </a:lnTo>
                <a:cubicBezTo>
                  <a:pt x="3414969" y="12668"/>
                  <a:pt x="3328744" y="21588"/>
                  <a:pt x="3245493" y="104839"/>
                </a:cubicBezTo>
                <a:cubicBezTo>
                  <a:pt x="3668357" y="162984"/>
                  <a:pt x="4075366" y="51981"/>
                  <a:pt x="4434802" y="284558"/>
                </a:cubicBezTo>
                <a:cubicBezTo>
                  <a:pt x="4302656" y="400846"/>
                  <a:pt x="4154654" y="374416"/>
                  <a:pt x="4011937" y="395559"/>
                </a:cubicBezTo>
                <a:cubicBezTo>
                  <a:pt x="3863934" y="416704"/>
                  <a:pt x="3721217" y="453704"/>
                  <a:pt x="3573213" y="474847"/>
                </a:cubicBezTo>
                <a:cubicBezTo>
                  <a:pt x="3414639" y="501275"/>
                  <a:pt x="3256063" y="506562"/>
                  <a:pt x="3097489" y="532990"/>
                </a:cubicBezTo>
                <a:cubicBezTo>
                  <a:pt x="2965345" y="554135"/>
                  <a:pt x="2822627" y="517133"/>
                  <a:pt x="2664052" y="649279"/>
                </a:cubicBezTo>
                <a:cubicBezTo>
                  <a:pt x="3055203" y="744424"/>
                  <a:pt x="3409352" y="601706"/>
                  <a:pt x="3795218" y="696852"/>
                </a:cubicBezTo>
                <a:cubicBezTo>
                  <a:pt x="3567928" y="781425"/>
                  <a:pt x="3382924" y="754995"/>
                  <a:pt x="3208492" y="802568"/>
                </a:cubicBezTo>
                <a:cubicBezTo>
                  <a:pt x="3049916" y="850140"/>
                  <a:pt x="2859627" y="797282"/>
                  <a:pt x="2727483" y="939999"/>
                </a:cubicBezTo>
                <a:cubicBezTo>
                  <a:pt x="2627052" y="1051000"/>
                  <a:pt x="2521336" y="1066858"/>
                  <a:pt x="2389190" y="1003429"/>
                </a:cubicBezTo>
                <a:cubicBezTo>
                  <a:pt x="2272901" y="945284"/>
                  <a:pt x="2146043" y="961142"/>
                  <a:pt x="2029754" y="1019287"/>
                </a:cubicBezTo>
                <a:cubicBezTo>
                  <a:pt x="1987468" y="1040430"/>
                  <a:pt x="1945181" y="1066858"/>
                  <a:pt x="1945181" y="1119716"/>
                </a:cubicBezTo>
                <a:cubicBezTo>
                  <a:pt x="1945181" y="1193719"/>
                  <a:pt x="1998039" y="1214862"/>
                  <a:pt x="2056184" y="1225434"/>
                </a:cubicBezTo>
                <a:cubicBezTo>
                  <a:pt x="2109042" y="1236004"/>
                  <a:pt x="2172471" y="1246577"/>
                  <a:pt x="2225329" y="1236004"/>
                </a:cubicBezTo>
                <a:cubicBezTo>
                  <a:pt x="2563622" y="1177861"/>
                  <a:pt x="2896629" y="1273005"/>
                  <a:pt x="3234920" y="1262435"/>
                </a:cubicBezTo>
                <a:cubicBezTo>
                  <a:pt x="2172471" y="1489724"/>
                  <a:pt x="1099450" y="1415723"/>
                  <a:pt x="0" y="1495009"/>
                </a:cubicBezTo>
                <a:cubicBezTo>
                  <a:pt x="142717" y="1653583"/>
                  <a:pt x="327721" y="1521439"/>
                  <a:pt x="438724" y="1637728"/>
                </a:cubicBezTo>
                <a:cubicBezTo>
                  <a:pt x="333006" y="1880875"/>
                  <a:pt x="375293" y="2013020"/>
                  <a:pt x="586726" y="2028877"/>
                </a:cubicBezTo>
                <a:cubicBezTo>
                  <a:pt x="792873" y="2044734"/>
                  <a:pt x="1014877" y="1960161"/>
                  <a:pt x="1125878" y="2250882"/>
                </a:cubicBezTo>
                <a:cubicBezTo>
                  <a:pt x="1157593" y="2340740"/>
                  <a:pt x="1353170" y="2314312"/>
                  <a:pt x="1474744" y="2330169"/>
                </a:cubicBezTo>
                <a:cubicBezTo>
                  <a:pt x="1739034" y="2367170"/>
                  <a:pt x="2019183" y="2330169"/>
                  <a:pt x="2272901" y="2446458"/>
                </a:cubicBezTo>
                <a:cubicBezTo>
                  <a:pt x="2373332" y="2488744"/>
                  <a:pt x="2442048" y="2520459"/>
                  <a:pt x="2389190" y="2636747"/>
                </a:cubicBezTo>
                <a:cubicBezTo>
                  <a:pt x="2336332" y="2758321"/>
                  <a:pt x="2405048" y="2800607"/>
                  <a:pt x="2489621" y="2848179"/>
                </a:cubicBezTo>
                <a:cubicBezTo>
                  <a:pt x="2553051" y="2885180"/>
                  <a:pt x="2648195" y="2874609"/>
                  <a:pt x="2701053" y="2985611"/>
                </a:cubicBezTo>
                <a:cubicBezTo>
                  <a:pt x="2146043" y="2969753"/>
                  <a:pt x="1606888" y="2879895"/>
                  <a:pt x="1057165" y="2964468"/>
                </a:cubicBezTo>
                <a:cubicBezTo>
                  <a:pt x="1659748" y="3175900"/>
                  <a:pt x="2320474" y="3165328"/>
                  <a:pt x="2912485" y="3408477"/>
                </a:cubicBezTo>
                <a:cubicBezTo>
                  <a:pt x="2891342" y="3493050"/>
                  <a:pt x="2753911" y="3456048"/>
                  <a:pt x="2748626" y="3582909"/>
                </a:cubicBezTo>
                <a:cubicBezTo>
                  <a:pt x="3060489" y="3715055"/>
                  <a:pt x="3435782" y="3625195"/>
                  <a:pt x="3763503" y="3820771"/>
                </a:cubicBezTo>
                <a:cubicBezTo>
                  <a:pt x="3573213" y="3910629"/>
                  <a:pt x="3398782" y="3762626"/>
                  <a:pt x="3219063" y="3847199"/>
                </a:cubicBezTo>
                <a:cubicBezTo>
                  <a:pt x="3277208" y="3974060"/>
                  <a:pt x="5909545" y="4756360"/>
                  <a:pt x="6385269" y="4840933"/>
                </a:cubicBezTo>
                <a:cubicBezTo>
                  <a:pt x="7171204" y="4982659"/>
                  <a:pt x="9157515" y="5302348"/>
                  <a:pt x="10285854" y="5471118"/>
                </a:cubicBezTo>
                <a:lnTo>
                  <a:pt x="10423900" y="5491534"/>
                </a:lnTo>
                <a:close/>
              </a:path>
            </a:pathLst>
          </a:custGeom>
          <a:solidFill>
            <a:schemeClr val="lt2">
              <a:alpha val="4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95" name="Google Shape;11295;p2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Next Steps: Sharing PREM Survey Results with Clinical Team Members</a:t>
            </a:r>
            <a:endParaRPr/>
          </a:p>
        </p:txBody>
      </p:sp>
      <p:sp>
        <p:nvSpPr>
          <p:cNvPr id="11296" name="Google Shape;11296;p2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11297" name="Google Shape;11297;p2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dirty="0"/>
              <a:t>32</a:t>
            </a:fld>
            <a:endParaRPr dirty="0"/>
          </a:p>
        </p:txBody>
      </p:sp>
      <p:grpSp>
        <p:nvGrpSpPr>
          <p:cNvPr id="11298" name="Google Shape;11298;p25"/>
          <p:cNvGrpSpPr/>
          <p:nvPr/>
        </p:nvGrpSpPr>
        <p:grpSpPr>
          <a:xfrm>
            <a:off x="227686" y="2216638"/>
            <a:ext cx="11730941" cy="3174810"/>
            <a:chOff x="3923" y="931299"/>
            <a:chExt cx="11471035" cy="2973973"/>
          </a:xfrm>
        </p:grpSpPr>
        <p:sp>
          <p:nvSpPr>
            <p:cNvPr id="11299" name="Google Shape;11299;p25"/>
            <p:cNvSpPr/>
            <p:nvPr/>
          </p:nvSpPr>
          <p:spPr>
            <a:xfrm>
              <a:off x="3923" y="931299"/>
              <a:ext cx="2124265" cy="2973972"/>
            </a:xfrm>
            <a:prstGeom prst="rect">
              <a:avLst/>
            </a:prstGeom>
            <a:solidFill>
              <a:srgbClr val="FBD2DB">
                <a:alpha val="89803"/>
              </a:srgbClr>
            </a:solidFill>
            <a:ln w="12700" cap="flat" cmpd="sng">
              <a:solidFill>
                <a:srgbClr val="FBD2DB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0" name="Google Shape;11300;p25"/>
            <p:cNvSpPr txBox="1"/>
            <p:nvPr/>
          </p:nvSpPr>
          <p:spPr>
            <a:xfrm>
              <a:off x="3923" y="2061409"/>
              <a:ext cx="2124265" cy="178438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65600" tIns="330200" rIns="165600" bIns="330200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500"/>
                <a:buFont typeface="Calibri"/>
                <a:buNone/>
              </a:pPr>
              <a:r>
                <a:rPr lang="en-US" sz="1500" b="1" i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Access REDCap and review PREM survey data with your BE team</a:t>
              </a:r>
              <a:endParaRPr sz="15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01" name="Google Shape;11301;p25"/>
            <p:cNvSpPr/>
            <p:nvPr/>
          </p:nvSpPr>
          <p:spPr>
            <a:xfrm>
              <a:off x="619960" y="1228697"/>
              <a:ext cx="892191" cy="892191"/>
            </a:xfrm>
            <a:prstGeom prst="ellipse">
              <a:avLst/>
            </a:prstGeom>
            <a:solidFill>
              <a:srgbClr val="F5658F"/>
            </a:solidFill>
            <a:ln w="12700" cap="flat" cmpd="sng">
              <a:solidFill>
                <a:srgbClr val="F5658F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2" name="Google Shape;11302;p25"/>
            <p:cNvSpPr txBox="1"/>
            <p:nvPr/>
          </p:nvSpPr>
          <p:spPr>
            <a:xfrm>
              <a:off x="750618" y="1359355"/>
              <a:ext cx="630875" cy="6308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9550" tIns="12700" rIns="69550" bIns="127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4300"/>
                <a:buFont typeface="Calibri"/>
                <a:buNone/>
              </a:pPr>
              <a:r>
                <a:rPr lang="en-US" sz="43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1</a:t>
              </a:r>
              <a:endParaRPr/>
            </a:p>
          </p:txBody>
        </p:sp>
        <p:sp>
          <p:nvSpPr>
            <p:cNvPr id="11303" name="Google Shape;11303;p25"/>
            <p:cNvSpPr/>
            <p:nvPr/>
          </p:nvSpPr>
          <p:spPr>
            <a:xfrm>
              <a:off x="3923" y="3905200"/>
              <a:ext cx="2124265" cy="72"/>
            </a:xfrm>
            <a:prstGeom prst="rect">
              <a:avLst/>
            </a:prstGeom>
            <a:solidFill>
              <a:srgbClr val="F565E6"/>
            </a:solidFill>
            <a:ln w="12700" cap="flat" cmpd="sng">
              <a:solidFill>
                <a:srgbClr val="F565E6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4" name="Google Shape;11304;p25"/>
            <p:cNvSpPr/>
            <p:nvPr/>
          </p:nvSpPr>
          <p:spPr>
            <a:xfrm>
              <a:off x="2340615" y="931299"/>
              <a:ext cx="2124265" cy="2973972"/>
            </a:xfrm>
            <a:prstGeom prst="rect">
              <a:avLst/>
            </a:prstGeom>
            <a:solidFill>
              <a:srgbClr val="E0D2FB">
                <a:alpha val="89803"/>
              </a:srgbClr>
            </a:solidFill>
            <a:ln w="12700" cap="flat" cmpd="sng">
              <a:solidFill>
                <a:srgbClr val="E0D2FB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5" name="Google Shape;11305;p25"/>
            <p:cNvSpPr txBox="1"/>
            <p:nvPr/>
          </p:nvSpPr>
          <p:spPr>
            <a:xfrm>
              <a:off x="2340615" y="2061409"/>
              <a:ext cx="2124265" cy="178438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65600" tIns="330200" rIns="165600" bIns="330200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500"/>
                <a:buFont typeface="Calibri"/>
                <a:buNone/>
              </a:pPr>
              <a:r>
                <a:rPr lang="en-US" sz="1500" b="1" i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Prepare a few slides/print outs of PREM survey results (post print-outs in unit breakrooms, etc.)</a:t>
              </a:r>
              <a:endParaRPr sz="15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06" name="Google Shape;11306;p25"/>
            <p:cNvSpPr/>
            <p:nvPr/>
          </p:nvSpPr>
          <p:spPr>
            <a:xfrm>
              <a:off x="2956653" y="1228697"/>
              <a:ext cx="892191" cy="892191"/>
            </a:xfrm>
            <a:prstGeom prst="ellipse">
              <a:avLst/>
            </a:prstGeom>
            <a:solidFill>
              <a:srgbClr val="AB65F5"/>
            </a:solidFill>
            <a:ln w="12700" cap="flat" cmpd="sng">
              <a:solidFill>
                <a:srgbClr val="AB65F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7" name="Google Shape;11307;p25"/>
            <p:cNvSpPr txBox="1"/>
            <p:nvPr/>
          </p:nvSpPr>
          <p:spPr>
            <a:xfrm>
              <a:off x="3087311" y="1359355"/>
              <a:ext cx="630875" cy="6308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9550" tIns="12700" rIns="69550" bIns="127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4300"/>
                <a:buFont typeface="Calibri"/>
                <a:buNone/>
              </a:pPr>
              <a:r>
                <a:rPr lang="en-US" sz="43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2</a:t>
              </a:r>
              <a:endParaRPr/>
            </a:p>
          </p:txBody>
        </p:sp>
        <p:sp>
          <p:nvSpPr>
            <p:cNvPr id="11308" name="Google Shape;11308;p25"/>
            <p:cNvSpPr/>
            <p:nvPr/>
          </p:nvSpPr>
          <p:spPr>
            <a:xfrm>
              <a:off x="2340615" y="3905200"/>
              <a:ext cx="2124265" cy="72"/>
            </a:xfrm>
            <a:prstGeom prst="rect">
              <a:avLst/>
            </a:prstGeom>
            <a:solidFill>
              <a:srgbClr val="6577F5"/>
            </a:solidFill>
            <a:ln w="12700" cap="flat" cmpd="sng">
              <a:solidFill>
                <a:srgbClr val="6577F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09" name="Google Shape;11309;p25"/>
            <p:cNvSpPr/>
            <p:nvPr/>
          </p:nvSpPr>
          <p:spPr>
            <a:xfrm>
              <a:off x="4677308" y="931299"/>
              <a:ext cx="2124265" cy="2973972"/>
            </a:xfrm>
            <a:prstGeom prst="rect">
              <a:avLst/>
            </a:prstGeom>
            <a:solidFill>
              <a:srgbClr val="D2FBF8">
                <a:alpha val="89803"/>
              </a:srgbClr>
            </a:solidFill>
            <a:ln w="12700" cap="flat" cmpd="sng">
              <a:solidFill>
                <a:srgbClr val="D2FBF8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0" name="Google Shape;11310;p25"/>
            <p:cNvSpPr txBox="1"/>
            <p:nvPr/>
          </p:nvSpPr>
          <p:spPr>
            <a:xfrm>
              <a:off x="4677308" y="2061409"/>
              <a:ext cx="2124265" cy="178438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65600" tIns="330200" rIns="165600" bIns="330200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500"/>
                <a:buFont typeface="Calibri"/>
                <a:buNone/>
              </a:pPr>
              <a:r>
                <a:rPr lang="en-US" sz="1500" b="1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Share PREM survey results with L&amp;D staff at staff meetings, change of shift, OB provider meetings. </a:t>
              </a:r>
              <a:endParaRPr sz="15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11" name="Google Shape;11311;p25"/>
            <p:cNvSpPr/>
            <p:nvPr/>
          </p:nvSpPr>
          <p:spPr>
            <a:xfrm>
              <a:off x="5293345" y="1228697"/>
              <a:ext cx="892191" cy="892191"/>
            </a:xfrm>
            <a:prstGeom prst="ellipse">
              <a:avLst/>
            </a:prstGeom>
            <a:solidFill>
              <a:srgbClr val="65CFF5"/>
            </a:solidFill>
            <a:ln w="12700" cap="flat" cmpd="sng">
              <a:solidFill>
                <a:srgbClr val="65CFF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2" name="Google Shape;11312;p25"/>
            <p:cNvSpPr txBox="1"/>
            <p:nvPr/>
          </p:nvSpPr>
          <p:spPr>
            <a:xfrm>
              <a:off x="5424003" y="1359355"/>
              <a:ext cx="630875" cy="6308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9550" tIns="12700" rIns="69550" bIns="127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4300"/>
                <a:buFont typeface="Calibri"/>
                <a:buNone/>
              </a:pPr>
              <a:r>
                <a:rPr lang="en-US" sz="43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3</a:t>
              </a:r>
              <a:endParaRPr/>
            </a:p>
          </p:txBody>
        </p:sp>
        <p:sp>
          <p:nvSpPr>
            <p:cNvPr id="11313" name="Google Shape;11313;p25"/>
            <p:cNvSpPr/>
            <p:nvPr/>
          </p:nvSpPr>
          <p:spPr>
            <a:xfrm>
              <a:off x="4677308" y="3905200"/>
              <a:ext cx="2124265" cy="72"/>
            </a:xfrm>
            <a:prstGeom prst="rect">
              <a:avLst/>
            </a:prstGeom>
            <a:solidFill>
              <a:srgbClr val="65F5C3"/>
            </a:solidFill>
            <a:ln w="12700" cap="flat" cmpd="sng">
              <a:solidFill>
                <a:srgbClr val="65F5C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4" name="Google Shape;11314;p25"/>
            <p:cNvSpPr/>
            <p:nvPr/>
          </p:nvSpPr>
          <p:spPr>
            <a:xfrm>
              <a:off x="7014001" y="931299"/>
              <a:ext cx="2124265" cy="2973972"/>
            </a:xfrm>
            <a:prstGeom prst="rect">
              <a:avLst/>
            </a:prstGeom>
            <a:solidFill>
              <a:srgbClr val="E5FBD2">
                <a:alpha val="89803"/>
              </a:srgbClr>
            </a:solidFill>
            <a:ln w="12700" cap="flat" cmpd="sng">
              <a:solidFill>
                <a:srgbClr val="E5FBD2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5" name="Google Shape;11315;p25"/>
            <p:cNvSpPr txBox="1"/>
            <p:nvPr/>
          </p:nvSpPr>
          <p:spPr>
            <a:xfrm>
              <a:off x="7014001" y="2061409"/>
              <a:ext cx="2124265" cy="178438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65600" tIns="330200" rIns="165600" bIns="330200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500"/>
                <a:buFont typeface="Calibri"/>
                <a:buNone/>
              </a:pPr>
              <a:r>
                <a:rPr lang="en-US" sz="1500" b="1" i="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Determine focus areas to </a:t>
              </a:r>
              <a:r>
                <a:rPr lang="en-US" sz="1500" b="1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actively implement</a:t>
              </a:r>
              <a:r>
                <a:rPr lang="en-US" sz="1500" b="1" i="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 respectful care practices on your unit: which key elements will you wor</a:t>
              </a:r>
              <a:r>
                <a:rPr lang="en-US" sz="1500" b="1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k on?</a:t>
              </a:r>
              <a:endParaRPr sz="15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16" name="Google Shape;11316;p25"/>
            <p:cNvSpPr/>
            <p:nvPr/>
          </p:nvSpPr>
          <p:spPr>
            <a:xfrm>
              <a:off x="7630038" y="1228697"/>
              <a:ext cx="892191" cy="892191"/>
            </a:xfrm>
            <a:prstGeom prst="ellipse">
              <a:avLst/>
            </a:prstGeom>
            <a:solidFill>
              <a:srgbClr val="65F56B"/>
            </a:solidFill>
            <a:ln w="12700" cap="flat" cmpd="sng">
              <a:solidFill>
                <a:srgbClr val="65F56B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7" name="Google Shape;11317;p25"/>
            <p:cNvSpPr txBox="1"/>
            <p:nvPr/>
          </p:nvSpPr>
          <p:spPr>
            <a:xfrm>
              <a:off x="7760696" y="1359355"/>
              <a:ext cx="630875" cy="6308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9550" tIns="12700" rIns="69550" bIns="127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4300"/>
                <a:buFont typeface="Calibri"/>
                <a:buNone/>
              </a:pPr>
              <a:r>
                <a:rPr lang="en-US" sz="43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4</a:t>
              </a:r>
              <a:endParaRPr/>
            </a:p>
          </p:txBody>
        </p:sp>
        <p:sp>
          <p:nvSpPr>
            <p:cNvPr id="11318" name="Google Shape;11318;p25"/>
            <p:cNvSpPr/>
            <p:nvPr/>
          </p:nvSpPr>
          <p:spPr>
            <a:xfrm>
              <a:off x="7014001" y="3905200"/>
              <a:ext cx="2124265" cy="72"/>
            </a:xfrm>
            <a:prstGeom prst="rect">
              <a:avLst/>
            </a:prstGeom>
            <a:solidFill>
              <a:srgbClr val="B7F565"/>
            </a:solidFill>
            <a:ln w="12700" cap="flat" cmpd="sng">
              <a:solidFill>
                <a:srgbClr val="B7F56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19" name="Google Shape;11319;p25"/>
            <p:cNvSpPr/>
            <p:nvPr/>
          </p:nvSpPr>
          <p:spPr>
            <a:xfrm>
              <a:off x="9350693" y="931299"/>
              <a:ext cx="2124265" cy="2973972"/>
            </a:xfrm>
            <a:prstGeom prst="rect">
              <a:avLst/>
            </a:prstGeom>
            <a:solidFill>
              <a:srgbClr val="FBD6D2">
                <a:alpha val="89803"/>
              </a:srgbClr>
            </a:solidFill>
            <a:ln w="12700" cap="flat" cmpd="sng">
              <a:solidFill>
                <a:srgbClr val="FBD6D2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0" name="Google Shape;11320;p25"/>
            <p:cNvSpPr txBox="1"/>
            <p:nvPr/>
          </p:nvSpPr>
          <p:spPr>
            <a:xfrm>
              <a:off x="9350693" y="2061409"/>
              <a:ext cx="2124265" cy="178438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65600" tIns="330200" rIns="165600" bIns="330200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500"/>
                <a:buFont typeface="Calibri"/>
                <a:buNone/>
              </a:pPr>
              <a:r>
                <a:rPr lang="en-US" sz="1500" b="1" i="0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Engage clinical team members in a plan of action:   commit to sit, shared decision making, review of respectful care practices</a:t>
              </a:r>
              <a:endParaRPr sz="15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21" name="Google Shape;11321;p25"/>
            <p:cNvSpPr/>
            <p:nvPr/>
          </p:nvSpPr>
          <p:spPr>
            <a:xfrm>
              <a:off x="9966730" y="1228697"/>
              <a:ext cx="892191" cy="892191"/>
            </a:xfrm>
            <a:prstGeom prst="ellipse">
              <a:avLst/>
            </a:prstGeom>
            <a:solidFill>
              <a:srgbClr val="F5DA65"/>
            </a:solidFill>
            <a:ln w="12700" cap="flat" cmpd="sng">
              <a:solidFill>
                <a:srgbClr val="F5DA6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22" name="Google Shape;11322;p25"/>
            <p:cNvSpPr txBox="1"/>
            <p:nvPr/>
          </p:nvSpPr>
          <p:spPr>
            <a:xfrm>
              <a:off x="10097388" y="1359355"/>
              <a:ext cx="630875" cy="6308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9550" tIns="12700" rIns="69550" bIns="127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4300"/>
                <a:buFont typeface="Calibri"/>
                <a:buNone/>
              </a:pPr>
              <a:r>
                <a:rPr lang="en-US" sz="43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5</a:t>
              </a:r>
              <a:endParaRPr/>
            </a:p>
          </p:txBody>
        </p:sp>
        <p:sp>
          <p:nvSpPr>
            <p:cNvPr id="11323" name="Google Shape;11323;p25"/>
            <p:cNvSpPr/>
            <p:nvPr/>
          </p:nvSpPr>
          <p:spPr>
            <a:xfrm>
              <a:off x="9350693" y="3905200"/>
              <a:ext cx="2124265" cy="72"/>
            </a:xfrm>
            <a:prstGeom prst="rect">
              <a:avLst/>
            </a:prstGeom>
            <a:solidFill>
              <a:srgbClr val="F58365"/>
            </a:solidFill>
            <a:ln w="12700" cap="flat" cmpd="sng">
              <a:solidFill>
                <a:srgbClr val="F5836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1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28" name="Google Shape;11328;p26"/>
          <p:cNvSpPr/>
          <p:nvPr/>
        </p:nvSpPr>
        <p:spPr>
          <a:xfrm>
            <a:off x="0" y="-1"/>
            <a:ext cx="12191695" cy="685202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29" name="Google Shape;11329;p26"/>
          <p:cNvSpPr/>
          <p:nvPr/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30" name="Google Shape;11330;p26"/>
          <p:cNvSpPr txBox="1">
            <a:spLocks noGrp="1"/>
          </p:cNvSpPr>
          <p:nvPr>
            <p:ph type="title"/>
          </p:nvPr>
        </p:nvSpPr>
        <p:spPr>
          <a:xfrm>
            <a:off x="6590662" y="2590251"/>
            <a:ext cx="4805996" cy="12971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000"/>
              <a:buFont typeface="Calibri"/>
              <a:buNone/>
            </a:pPr>
            <a:r>
              <a:rPr lang="en-US" sz="4000">
                <a:solidFill>
                  <a:schemeClr val="dk2"/>
                </a:solidFill>
              </a:rPr>
              <a:t>Any </a:t>
            </a:r>
            <a:r>
              <a:rPr lang="en-US" sz="400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Questions?</a:t>
            </a:r>
            <a:endParaRPr/>
          </a:p>
        </p:txBody>
      </p:sp>
      <p:sp>
        <p:nvSpPr>
          <p:cNvPr id="11331" name="Google Shape;11331;p26"/>
          <p:cNvSpPr txBox="1">
            <a:spLocks noGrp="1"/>
          </p:cNvSpPr>
          <p:nvPr>
            <p:ph type="subTitle" idx="1"/>
          </p:nvPr>
        </p:nvSpPr>
        <p:spPr>
          <a:xfrm>
            <a:off x="6590966" y="3358115"/>
            <a:ext cx="4805691" cy="8388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</a:pPr>
            <a:r>
              <a:rPr lang="en-US" sz="2000">
                <a:solidFill>
                  <a:schemeClr val="dk2"/>
                </a:solidFill>
              </a:rPr>
              <a:t>Raise your hand or put your question in the chat!</a:t>
            </a:r>
            <a:endParaRPr sz="200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332" name="Google Shape;11332;p26" descr="Question mark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40470" y="1815320"/>
            <a:ext cx="4141760" cy="4141760"/>
          </a:xfrm>
          <a:custGeom>
            <a:avLst/>
            <a:gdLst/>
            <a:ahLst/>
            <a:cxnLst/>
            <a:rect l="l" t="t" r="r" b="b"/>
            <a:pathLst>
              <a:path w="4141760" h="4377846" extrusionOk="0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  <a:noFill/>
          <a:ln>
            <a:noFill/>
          </a:ln>
        </p:spPr>
      </p:pic>
      <p:grpSp>
        <p:nvGrpSpPr>
          <p:cNvPr id="11333" name="Google Shape;11333;p26"/>
          <p:cNvGrpSpPr/>
          <p:nvPr/>
        </p:nvGrpSpPr>
        <p:grpSpPr>
          <a:xfrm>
            <a:off x="-4253" y="-5977"/>
            <a:ext cx="6238675" cy="6863979"/>
            <a:chOff x="305" y="-5977"/>
            <a:chExt cx="6238675" cy="6863979"/>
          </a:xfrm>
        </p:grpSpPr>
        <p:sp>
          <p:nvSpPr>
            <p:cNvPr id="11334" name="Google Shape;11334;p26"/>
            <p:cNvSpPr/>
            <p:nvPr/>
          </p:nvSpPr>
          <p:spPr>
            <a:xfrm flipH="1">
              <a:off x="305" y="34854"/>
              <a:ext cx="6028697" cy="6817170"/>
            </a:xfrm>
            <a:custGeom>
              <a:avLst/>
              <a:gdLst/>
              <a:ahLst/>
              <a:cxnLst/>
              <a:rect l="l" t="t" r="r" b="b"/>
              <a:pathLst>
                <a:path w="6028697" h="6817170" extrusionOk="0">
                  <a:moveTo>
                    <a:pt x="6028697" y="6155323"/>
                  </a:moveTo>
                  <a:lnTo>
                    <a:pt x="6028697" y="6817170"/>
                  </a:lnTo>
                  <a:lnTo>
                    <a:pt x="5157862" y="6817170"/>
                  </a:lnTo>
                  <a:lnTo>
                    <a:pt x="5347156" y="6687553"/>
                  </a:lnTo>
                  <a:cubicBezTo>
                    <a:pt x="5394117" y="6653219"/>
                    <a:pt x="5440793" y="6617608"/>
                    <a:pt x="5487470" y="6581714"/>
                  </a:cubicBezTo>
                  <a:cubicBezTo>
                    <a:pt x="5534147" y="6545820"/>
                    <a:pt x="5580966" y="6509358"/>
                    <a:pt x="5627642" y="6472328"/>
                  </a:cubicBezTo>
                  <a:lnTo>
                    <a:pt x="5911392" y="6245328"/>
                  </a:lnTo>
                  <a:close/>
                  <a:moveTo>
                    <a:pt x="4481066" y="478"/>
                  </a:moveTo>
                  <a:cubicBezTo>
                    <a:pt x="4544817" y="1422"/>
                    <a:pt x="4608563" y="3769"/>
                    <a:pt x="4672258" y="7519"/>
                  </a:cubicBezTo>
                  <a:cubicBezTo>
                    <a:pt x="4927973" y="22364"/>
                    <a:pt x="5181687" y="61751"/>
                    <a:pt x="5429869" y="125134"/>
                  </a:cubicBezTo>
                  <a:cubicBezTo>
                    <a:pt x="5617090" y="173104"/>
                    <a:pt x="5799867" y="236595"/>
                    <a:pt x="5976319" y="314893"/>
                  </a:cubicBezTo>
                  <a:lnTo>
                    <a:pt x="6028697" y="339901"/>
                  </a:lnTo>
                  <a:lnTo>
                    <a:pt x="6028697" y="732458"/>
                  </a:lnTo>
                  <a:lnTo>
                    <a:pt x="5990985" y="712211"/>
                  </a:lnTo>
                  <a:cubicBezTo>
                    <a:pt x="5783917" y="609342"/>
                    <a:pt x="5566013" y="529876"/>
                    <a:pt x="5341339" y="475281"/>
                  </a:cubicBezTo>
                  <a:cubicBezTo>
                    <a:pt x="5115233" y="420503"/>
                    <a:pt x="4884375" y="387624"/>
                    <a:pt x="4651969" y="377104"/>
                  </a:cubicBezTo>
                  <a:cubicBezTo>
                    <a:pt x="4418713" y="365171"/>
                    <a:pt x="4184861" y="373670"/>
                    <a:pt x="3953093" y="402498"/>
                  </a:cubicBezTo>
                  <a:cubicBezTo>
                    <a:pt x="3721001" y="431832"/>
                    <a:pt x="3491675" y="480040"/>
                    <a:pt x="3267413" y="546643"/>
                  </a:cubicBezTo>
                  <a:cubicBezTo>
                    <a:pt x="2591323" y="750761"/>
                    <a:pt x="1967642" y="1099289"/>
                    <a:pt x="1439498" y="1568141"/>
                  </a:cubicBezTo>
                  <a:cubicBezTo>
                    <a:pt x="1265589" y="1725523"/>
                    <a:pt x="1105393" y="1897434"/>
                    <a:pt x="960671" y="2082013"/>
                  </a:cubicBezTo>
                  <a:cubicBezTo>
                    <a:pt x="815775" y="2266294"/>
                    <a:pt x="688923" y="2464081"/>
                    <a:pt x="581866" y="2672638"/>
                  </a:cubicBezTo>
                  <a:cubicBezTo>
                    <a:pt x="473765" y="2880669"/>
                    <a:pt x="387610" y="3099397"/>
                    <a:pt x="324789" y="3325262"/>
                  </a:cubicBezTo>
                  <a:cubicBezTo>
                    <a:pt x="262714" y="3552403"/>
                    <a:pt x="231223" y="3786822"/>
                    <a:pt x="231151" y="4022292"/>
                  </a:cubicBezTo>
                  <a:cubicBezTo>
                    <a:pt x="231413" y="4136912"/>
                    <a:pt x="244645" y="4251136"/>
                    <a:pt x="270592" y="4362792"/>
                  </a:cubicBezTo>
                  <a:cubicBezTo>
                    <a:pt x="297885" y="4472943"/>
                    <a:pt x="336983" y="4579833"/>
                    <a:pt x="387213" y="4681585"/>
                  </a:cubicBezTo>
                  <a:cubicBezTo>
                    <a:pt x="412042" y="4732517"/>
                    <a:pt x="439423" y="4782457"/>
                    <a:pt x="468507" y="4831546"/>
                  </a:cubicBezTo>
                  <a:cubicBezTo>
                    <a:pt x="497591" y="4880636"/>
                    <a:pt x="529230" y="4929015"/>
                    <a:pt x="561862" y="4976826"/>
                  </a:cubicBezTo>
                  <a:cubicBezTo>
                    <a:pt x="627975" y="5072166"/>
                    <a:pt x="701466" y="5164668"/>
                    <a:pt x="777511" y="5257597"/>
                  </a:cubicBezTo>
                  <a:cubicBezTo>
                    <a:pt x="853556" y="5350524"/>
                    <a:pt x="933574" y="5443594"/>
                    <a:pt x="1010895" y="5540494"/>
                  </a:cubicBezTo>
                  <a:cubicBezTo>
                    <a:pt x="1049957" y="5588732"/>
                    <a:pt x="1088642" y="5637963"/>
                    <a:pt x="1126948" y="5688186"/>
                  </a:cubicBezTo>
                  <a:lnTo>
                    <a:pt x="1182706" y="5760543"/>
                  </a:lnTo>
                  <a:cubicBezTo>
                    <a:pt x="1201007" y="5783669"/>
                    <a:pt x="1218458" y="5807503"/>
                    <a:pt x="1237327" y="5830060"/>
                  </a:cubicBezTo>
                  <a:cubicBezTo>
                    <a:pt x="1383714" y="6009916"/>
                    <a:pt x="1540413" y="6181116"/>
                    <a:pt x="1706649" y="6342797"/>
                  </a:cubicBezTo>
                  <a:cubicBezTo>
                    <a:pt x="1788084" y="6422531"/>
                    <a:pt x="1871265" y="6499427"/>
                    <a:pt x="1956207" y="6573484"/>
                  </a:cubicBezTo>
                  <a:cubicBezTo>
                    <a:pt x="2041332" y="6647402"/>
                    <a:pt x="2127733" y="6718907"/>
                    <a:pt x="2217681" y="6786297"/>
                  </a:cubicBezTo>
                  <a:lnTo>
                    <a:pt x="2260820" y="6817170"/>
                  </a:lnTo>
                  <a:lnTo>
                    <a:pt x="1429497" y="6817170"/>
                  </a:lnTo>
                  <a:lnTo>
                    <a:pt x="1327275" y="6713800"/>
                  </a:lnTo>
                  <a:cubicBezTo>
                    <a:pt x="1239186" y="6618984"/>
                    <a:pt x="1156797" y="6519019"/>
                    <a:pt x="1080556" y="6414443"/>
                  </a:cubicBezTo>
                  <a:cubicBezTo>
                    <a:pt x="1004653" y="6310734"/>
                    <a:pt x="932439" y="6205177"/>
                    <a:pt x="865189" y="6097496"/>
                  </a:cubicBezTo>
                  <a:cubicBezTo>
                    <a:pt x="847881" y="6070823"/>
                    <a:pt x="831565" y="6043725"/>
                    <a:pt x="814823" y="6016911"/>
                  </a:cubicBezTo>
                  <a:lnTo>
                    <a:pt x="766729" y="5938453"/>
                  </a:lnTo>
                  <a:cubicBezTo>
                    <a:pt x="735941" y="5887947"/>
                    <a:pt x="703878" y="5837581"/>
                    <a:pt x="671672" y="5786648"/>
                  </a:cubicBezTo>
                  <a:lnTo>
                    <a:pt x="474608" y="5474664"/>
                  </a:lnTo>
                  <a:cubicBezTo>
                    <a:pt x="408778" y="5368968"/>
                    <a:pt x="343516" y="5260008"/>
                    <a:pt x="282652" y="5146508"/>
                  </a:cubicBezTo>
                  <a:cubicBezTo>
                    <a:pt x="252290" y="5089759"/>
                    <a:pt x="223065" y="5032015"/>
                    <a:pt x="196108" y="4972712"/>
                  </a:cubicBezTo>
                  <a:cubicBezTo>
                    <a:pt x="169152" y="4913408"/>
                    <a:pt x="144607" y="4853111"/>
                    <a:pt x="122474" y="4791821"/>
                  </a:cubicBezTo>
                  <a:cubicBezTo>
                    <a:pt x="100342" y="4730532"/>
                    <a:pt x="81757" y="4666830"/>
                    <a:pt x="65724" y="4603129"/>
                  </a:cubicBezTo>
                  <a:cubicBezTo>
                    <a:pt x="58205" y="4571064"/>
                    <a:pt x="50828" y="4539143"/>
                    <a:pt x="44727" y="4506937"/>
                  </a:cubicBezTo>
                  <a:lnTo>
                    <a:pt x="35505" y="4458699"/>
                  </a:lnTo>
                  <a:lnTo>
                    <a:pt x="27845" y="4410320"/>
                  </a:lnTo>
                  <a:cubicBezTo>
                    <a:pt x="8635" y="4281881"/>
                    <a:pt x="-661" y="4152150"/>
                    <a:pt x="37" y="4022292"/>
                  </a:cubicBezTo>
                  <a:cubicBezTo>
                    <a:pt x="712" y="3768592"/>
                    <a:pt x="27094" y="3515615"/>
                    <a:pt x="78777" y="3267236"/>
                  </a:cubicBezTo>
                  <a:cubicBezTo>
                    <a:pt x="130048" y="3017876"/>
                    <a:pt x="209439" y="2775142"/>
                    <a:pt x="315424" y="2543673"/>
                  </a:cubicBezTo>
                  <a:cubicBezTo>
                    <a:pt x="528236" y="2081161"/>
                    <a:pt x="838234" y="1667312"/>
                    <a:pt x="1202710" y="1314895"/>
                  </a:cubicBezTo>
                  <a:cubicBezTo>
                    <a:pt x="1385514" y="1138814"/>
                    <a:pt x="1582282" y="977831"/>
                    <a:pt x="1791065" y="833514"/>
                  </a:cubicBezTo>
                  <a:cubicBezTo>
                    <a:pt x="2420037" y="395614"/>
                    <a:pt x="3147288" y="119557"/>
                    <a:pt x="3908404" y="29794"/>
                  </a:cubicBezTo>
                  <a:cubicBezTo>
                    <a:pt x="4098509" y="7429"/>
                    <a:pt x="4289811" y="-2355"/>
                    <a:pt x="4481066" y="478"/>
                  </a:cubicBezTo>
                  <a:close/>
                </a:path>
              </a:pathLst>
            </a:custGeom>
            <a:gradFill>
              <a:gsLst>
                <a:gs pos="0">
                  <a:srgbClr val="FFFFFF">
                    <a:alpha val="9803"/>
                  </a:srgbClr>
                </a:gs>
                <a:gs pos="2000">
                  <a:srgbClr val="FFFFFF">
                    <a:alpha val="9803"/>
                  </a:srgbClr>
                </a:gs>
                <a:gs pos="16000">
                  <a:srgbClr val="A3B745">
                    <a:alpha val="9803"/>
                  </a:srgbClr>
                </a:gs>
                <a:gs pos="85000">
                  <a:srgbClr val="1C498B">
                    <a:alpha val="9803"/>
                  </a:srgbClr>
                </a:gs>
                <a:gs pos="100000">
                  <a:srgbClr val="FFFFFF">
                    <a:alpha val="9803"/>
                  </a:srgbClr>
                </a:gs>
              </a:gsLst>
              <a:lin ang="120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35" name="Google Shape;11335;p26"/>
            <p:cNvSpPr/>
            <p:nvPr/>
          </p:nvSpPr>
          <p:spPr>
            <a:xfrm flipH="1">
              <a:off x="305" y="1"/>
              <a:ext cx="6165116" cy="6858001"/>
            </a:xfrm>
            <a:custGeom>
              <a:avLst/>
              <a:gdLst/>
              <a:ahLst/>
              <a:cxnLst/>
              <a:rect l="l" t="t" r="r" b="b"/>
              <a:pathLst>
                <a:path w="6264586" h="6858001" extrusionOk="0">
                  <a:moveTo>
                    <a:pt x="6264586" y="6646464"/>
                  </a:moveTo>
                  <a:lnTo>
                    <a:pt x="6264586" y="6858001"/>
                  </a:lnTo>
                  <a:lnTo>
                    <a:pt x="5997170" y="6858001"/>
                  </a:lnTo>
                  <a:lnTo>
                    <a:pt x="6121512" y="6761029"/>
                  </a:lnTo>
                  <a:close/>
                  <a:moveTo>
                    <a:pt x="2693206" y="0"/>
                  </a:moveTo>
                  <a:lnTo>
                    <a:pt x="5872285" y="0"/>
                  </a:lnTo>
                  <a:lnTo>
                    <a:pt x="6024875" y="68385"/>
                  </a:lnTo>
                  <a:cubicBezTo>
                    <a:pt x="6086250" y="97989"/>
                    <a:pt x="6146793" y="129318"/>
                    <a:pt x="6206432" y="162336"/>
                  </a:cubicBezTo>
                  <a:lnTo>
                    <a:pt x="6264586" y="196704"/>
                  </a:lnTo>
                  <a:lnTo>
                    <a:pt x="6264586" y="537242"/>
                  </a:lnTo>
                  <a:lnTo>
                    <a:pt x="6230189" y="517260"/>
                  </a:lnTo>
                  <a:cubicBezTo>
                    <a:pt x="6012226" y="399931"/>
                    <a:pt x="5780573" y="310008"/>
                    <a:pt x="5540536" y="249543"/>
                  </a:cubicBezTo>
                  <a:cubicBezTo>
                    <a:pt x="5421375" y="219324"/>
                    <a:pt x="5300641" y="195644"/>
                    <a:pt x="5178896" y="178606"/>
                  </a:cubicBezTo>
                  <a:cubicBezTo>
                    <a:pt x="5057977" y="161840"/>
                    <a:pt x="4936276" y="151186"/>
                    <a:pt x="4814279" y="146683"/>
                  </a:cubicBezTo>
                  <a:cubicBezTo>
                    <a:pt x="4761501" y="144556"/>
                    <a:pt x="4708015" y="143421"/>
                    <a:pt x="4655095" y="143421"/>
                  </a:cubicBezTo>
                  <a:cubicBezTo>
                    <a:pt x="4462968" y="143573"/>
                    <a:pt x="4271111" y="157799"/>
                    <a:pt x="4081069" y="185983"/>
                  </a:cubicBezTo>
                  <a:cubicBezTo>
                    <a:pt x="3956361" y="205703"/>
                    <a:pt x="3835058" y="229396"/>
                    <a:pt x="3720566" y="256921"/>
                  </a:cubicBezTo>
                  <a:cubicBezTo>
                    <a:pt x="3596708" y="286714"/>
                    <a:pt x="3477677" y="320905"/>
                    <a:pt x="3365879" y="357651"/>
                  </a:cubicBezTo>
                  <a:cubicBezTo>
                    <a:pt x="3249257" y="395958"/>
                    <a:pt x="3133487" y="438945"/>
                    <a:pt x="3020555" y="486190"/>
                  </a:cubicBezTo>
                  <a:cubicBezTo>
                    <a:pt x="2907623" y="533434"/>
                    <a:pt x="2794832" y="585786"/>
                    <a:pt x="2685163" y="641542"/>
                  </a:cubicBezTo>
                  <a:cubicBezTo>
                    <a:pt x="2463995" y="754348"/>
                    <a:pt x="2250998" y="882488"/>
                    <a:pt x="2047720" y="1025030"/>
                  </a:cubicBezTo>
                  <a:cubicBezTo>
                    <a:pt x="2006151" y="1054399"/>
                    <a:pt x="1951528" y="1093415"/>
                    <a:pt x="1897333" y="1134983"/>
                  </a:cubicBezTo>
                  <a:cubicBezTo>
                    <a:pt x="1876761" y="1150164"/>
                    <a:pt x="1855905" y="1166479"/>
                    <a:pt x="1835758" y="1182227"/>
                  </a:cubicBezTo>
                  <a:lnTo>
                    <a:pt x="1823273" y="1192016"/>
                  </a:lnTo>
                  <a:cubicBezTo>
                    <a:pt x="1797027" y="1211879"/>
                    <a:pt x="1772057" y="1232309"/>
                    <a:pt x="1750918" y="1249760"/>
                  </a:cubicBezTo>
                  <a:cubicBezTo>
                    <a:pt x="1645931" y="1335737"/>
                    <a:pt x="1554422" y="1416605"/>
                    <a:pt x="1469297" y="1496906"/>
                  </a:cubicBezTo>
                  <a:cubicBezTo>
                    <a:pt x="1286595" y="1668957"/>
                    <a:pt x="1118818" y="1856190"/>
                    <a:pt x="967769" y="2056602"/>
                  </a:cubicBezTo>
                  <a:cubicBezTo>
                    <a:pt x="890731" y="2159603"/>
                    <a:pt x="818800" y="2264590"/>
                    <a:pt x="754105" y="2368727"/>
                  </a:cubicBezTo>
                  <a:cubicBezTo>
                    <a:pt x="681749" y="2488328"/>
                    <a:pt x="622304" y="2596720"/>
                    <a:pt x="572364" y="2701140"/>
                  </a:cubicBezTo>
                  <a:cubicBezTo>
                    <a:pt x="557609" y="2730507"/>
                    <a:pt x="543989" y="2760443"/>
                    <a:pt x="532497" y="2786265"/>
                  </a:cubicBezTo>
                  <a:lnTo>
                    <a:pt x="512918" y="2828827"/>
                  </a:lnTo>
                  <a:lnTo>
                    <a:pt x="494475" y="2872240"/>
                  </a:lnTo>
                  <a:lnTo>
                    <a:pt x="491637" y="2878908"/>
                  </a:lnTo>
                  <a:cubicBezTo>
                    <a:pt x="480146" y="2906575"/>
                    <a:pt x="469220" y="2932821"/>
                    <a:pt x="459290" y="2959635"/>
                  </a:cubicBezTo>
                  <a:cubicBezTo>
                    <a:pt x="455176" y="2970559"/>
                    <a:pt x="451060" y="2981484"/>
                    <a:pt x="446805" y="2992408"/>
                  </a:cubicBezTo>
                  <a:cubicBezTo>
                    <a:pt x="439427" y="3012412"/>
                    <a:pt x="432333" y="3030572"/>
                    <a:pt x="426090" y="3049158"/>
                  </a:cubicBezTo>
                  <a:lnTo>
                    <a:pt x="426090" y="3049867"/>
                  </a:lnTo>
                  <a:cubicBezTo>
                    <a:pt x="383010" y="3169099"/>
                    <a:pt x="346959" y="3290756"/>
                    <a:pt x="318124" y="3414202"/>
                  </a:cubicBezTo>
                  <a:cubicBezTo>
                    <a:pt x="260107" y="3661703"/>
                    <a:pt x="230780" y="3915049"/>
                    <a:pt x="230729" y="4169260"/>
                  </a:cubicBezTo>
                  <a:cubicBezTo>
                    <a:pt x="231621" y="4295173"/>
                    <a:pt x="244398" y="4420719"/>
                    <a:pt x="268893" y="4544236"/>
                  </a:cubicBezTo>
                  <a:cubicBezTo>
                    <a:pt x="293708" y="4666304"/>
                    <a:pt x="330882" y="4785521"/>
                    <a:pt x="379840" y="4900056"/>
                  </a:cubicBezTo>
                  <a:cubicBezTo>
                    <a:pt x="387926" y="4919919"/>
                    <a:pt x="397006" y="4939498"/>
                    <a:pt x="406512" y="4960211"/>
                  </a:cubicBezTo>
                  <a:cubicBezTo>
                    <a:pt x="410343" y="4968299"/>
                    <a:pt x="414173" y="4976385"/>
                    <a:pt x="417862" y="4984613"/>
                  </a:cubicBezTo>
                  <a:lnTo>
                    <a:pt x="428077" y="5005043"/>
                  </a:lnTo>
                  <a:cubicBezTo>
                    <a:pt x="438860" y="5026751"/>
                    <a:pt x="449075" y="5047181"/>
                    <a:pt x="460140" y="5067327"/>
                  </a:cubicBezTo>
                  <a:cubicBezTo>
                    <a:pt x="485536" y="5116273"/>
                    <a:pt x="514763" y="5165789"/>
                    <a:pt x="555197" y="5229773"/>
                  </a:cubicBezTo>
                  <a:cubicBezTo>
                    <a:pt x="586836" y="5280282"/>
                    <a:pt x="620318" y="5329511"/>
                    <a:pt x="660611" y="5387396"/>
                  </a:cubicBezTo>
                  <a:cubicBezTo>
                    <a:pt x="698065" y="5440741"/>
                    <a:pt x="737223" y="5493094"/>
                    <a:pt x="774110" y="5542182"/>
                  </a:cubicBezTo>
                  <a:cubicBezTo>
                    <a:pt x="821070" y="5604324"/>
                    <a:pt x="870301" y="5667173"/>
                    <a:pt x="917829" y="5727896"/>
                  </a:cubicBezTo>
                  <a:cubicBezTo>
                    <a:pt x="949042" y="5767762"/>
                    <a:pt x="979828" y="5807063"/>
                    <a:pt x="1012885" y="5849767"/>
                  </a:cubicBezTo>
                  <a:cubicBezTo>
                    <a:pt x="1045942" y="5892471"/>
                    <a:pt x="1089497" y="5948796"/>
                    <a:pt x="1133053" y="6006822"/>
                  </a:cubicBezTo>
                  <a:cubicBezTo>
                    <a:pt x="1153624" y="6034345"/>
                    <a:pt x="1175332" y="6063998"/>
                    <a:pt x="1194343" y="6090245"/>
                  </a:cubicBezTo>
                  <a:cubicBezTo>
                    <a:pt x="1213355" y="6116491"/>
                    <a:pt x="1231372" y="6141178"/>
                    <a:pt x="1249390" y="6165155"/>
                  </a:cubicBezTo>
                  <a:cubicBezTo>
                    <a:pt x="1280461" y="6208000"/>
                    <a:pt x="1313659" y="6250847"/>
                    <a:pt x="1345724" y="6292132"/>
                  </a:cubicBezTo>
                  <a:lnTo>
                    <a:pt x="1364310" y="6316251"/>
                  </a:lnTo>
                  <a:lnTo>
                    <a:pt x="1373673" y="6327885"/>
                  </a:lnTo>
                  <a:cubicBezTo>
                    <a:pt x="1409566" y="6372433"/>
                    <a:pt x="1446738" y="6418542"/>
                    <a:pt x="1484619" y="6462240"/>
                  </a:cubicBezTo>
                  <a:cubicBezTo>
                    <a:pt x="1567899" y="6559850"/>
                    <a:pt x="1653876" y="6652211"/>
                    <a:pt x="1739000" y="6737335"/>
                  </a:cubicBezTo>
                  <a:lnTo>
                    <a:pt x="1866801" y="6858001"/>
                  </a:lnTo>
                  <a:lnTo>
                    <a:pt x="1144149" y="6858001"/>
                  </a:lnTo>
                  <a:lnTo>
                    <a:pt x="1058349" y="6766452"/>
                  </a:lnTo>
                  <a:cubicBezTo>
                    <a:pt x="878978" y="6562465"/>
                    <a:pt x="718756" y="6341104"/>
                    <a:pt x="580309" y="6105000"/>
                  </a:cubicBezTo>
                  <a:cubicBezTo>
                    <a:pt x="200401" y="5454007"/>
                    <a:pt x="146" y="4713831"/>
                    <a:pt x="1" y="3960094"/>
                  </a:cubicBezTo>
                  <a:cubicBezTo>
                    <a:pt x="-335" y="2196754"/>
                    <a:pt x="1071479" y="683605"/>
                    <a:pt x="2599292" y="37050"/>
                  </a:cubicBezTo>
                  <a:close/>
                </a:path>
              </a:pathLst>
            </a:custGeom>
            <a:gradFill>
              <a:gsLst>
                <a:gs pos="0">
                  <a:srgbClr val="FFFFFF">
                    <a:alpha val="9803"/>
                  </a:srgbClr>
                </a:gs>
                <a:gs pos="2000">
                  <a:srgbClr val="FFFFFF">
                    <a:alpha val="9803"/>
                  </a:srgbClr>
                </a:gs>
                <a:gs pos="16000">
                  <a:srgbClr val="A3B745">
                    <a:alpha val="9803"/>
                  </a:srgbClr>
                </a:gs>
                <a:gs pos="85000">
                  <a:srgbClr val="1C498B">
                    <a:alpha val="9803"/>
                  </a:srgbClr>
                </a:gs>
                <a:gs pos="100000">
                  <a:srgbClr val="FFFFFF">
                    <a:alpha val="9803"/>
                  </a:srgbClr>
                </a:gs>
              </a:gsLst>
              <a:lin ang="120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36" name="Google Shape;11336;p26"/>
            <p:cNvSpPr/>
            <p:nvPr/>
          </p:nvSpPr>
          <p:spPr>
            <a:xfrm flipH="1">
              <a:off x="305" y="-5977"/>
              <a:ext cx="6238675" cy="6858001"/>
            </a:xfrm>
            <a:custGeom>
              <a:avLst/>
              <a:gdLst/>
              <a:ahLst/>
              <a:cxnLst/>
              <a:rect l="l" t="t" r="r" b="b"/>
              <a:pathLst>
                <a:path w="6264586" h="6858001" extrusionOk="0">
                  <a:moveTo>
                    <a:pt x="6264586" y="6646464"/>
                  </a:moveTo>
                  <a:lnTo>
                    <a:pt x="6264586" y="6858001"/>
                  </a:lnTo>
                  <a:lnTo>
                    <a:pt x="5997170" y="6858001"/>
                  </a:lnTo>
                  <a:lnTo>
                    <a:pt x="6121512" y="6761029"/>
                  </a:lnTo>
                  <a:close/>
                  <a:moveTo>
                    <a:pt x="2693206" y="0"/>
                  </a:moveTo>
                  <a:lnTo>
                    <a:pt x="5872285" y="0"/>
                  </a:lnTo>
                  <a:lnTo>
                    <a:pt x="6024875" y="68385"/>
                  </a:lnTo>
                  <a:cubicBezTo>
                    <a:pt x="6086250" y="97989"/>
                    <a:pt x="6146793" y="129318"/>
                    <a:pt x="6206432" y="162336"/>
                  </a:cubicBezTo>
                  <a:lnTo>
                    <a:pt x="6264586" y="196704"/>
                  </a:lnTo>
                  <a:lnTo>
                    <a:pt x="6264586" y="537242"/>
                  </a:lnTo>
                  <a:lnTo>
                    <a:pt x="6230189" y="517260"/>
                  </a:lnTo>
                  <a:cubicBezTo>
                    <a:pt x="6012226" y="399931"/>
                    <a:pt x="5780573" y="310008"/>
                    <a:pt x="5540536" y="249543"/>
                  </a:cubicBezTo>
                  <a:cubicBezTo>
                    <a:pt x="5421375" y="219324"/>
                    <a:pt x="5300641" y="195644"/>
                    <a:pt x="5178896" y="178606"/>
                  </a:cubicBezTo>
                  <a:cubicBezTo>
                    <a:pt x="5057977" y="161840"/>
                    <a:pt x="4936276" y="151186"/>
                    <a:pt x="4814279" y="146683"/>
                  </a:cubicBezTo>
                  <a:cubicBezTo>
                    <a:pt x="4761501" y="144556"/>
                    <a:pt x="4708015" y="143421"/>
                    <a:pt x="4655095" y="143421"/>
                  </a:cubicBezTo>
                  <a:cubicBezTo>
                    <a:pt x="4462968" y="143573"/>
                    <a:pt x="4271111" y="157799"/>
                    <a:pt x="4081069" y="185983"/>
                  </a:cubicBezTo>
                  <a:cubicBezTo>
                    <a:pt x="3956361" y="205703"/>
                    <a:pt x="3835058" y="229396"/>
                    <a:pt x="3720566" y="256921"/>
                  </a:cubicBezTo>
                  <a:cubicBezTo>
                    <a:pt x="3596708" y="286714"/>
                    <a:pt x="3477677" y="320905"/>
                    <a:pt x="3365879" y="357651"/>
                  </a:cubicBezTo>
                  <a:cubicBezTo>
                    <a:pt x="3249257" y="395958"/>
                    <a:pt x="3133487" y="438945"/>
                    <a:pt x="3020555" y="486190"/>
                  </a:cubicBezTo>
                  <a:cubicBezTo>
                    <a:pt x="2907623" y="533434"/>
                    <a:pt x="2794832" y="585786"/>
                    <a:pt x="2685163" y="641542"/>
                  </a:cubicBezTo>
                  <a:cubicBezTo>
                    <a:pt x="2463995" y="754348"/>
                    <a:pt x="2250998" y="882488"/>
                    <a:pt x="2047720" y="1025030"/>
                  </a:cubicBezTo>
                  <a:cubicBezTo>
                    <a:pt x="2006151" y="1054399"/>
                    <a:pt x="1951528" y="1093415"/>
                    <a:pt x="1897333" y="1134983"/>
                  </a:cubicBezTo>
                  <a:cubicBezTo>
                    <a:pt x="1876761" y="1150164"/>
                    <a:pt x="1855905" y="1166479"/>
                    <a:pt x="1835758" y="1182227"/>
                  </a:cubicBezTo>
                  <a:lnTo>
                    <a:pt x="1823273" y="1192016"/>
                  </a:lnTo>
                  <a:cubicBezTo>
                    <a:pt x="1797027" y="1211879"/>
                    <a:pt x="1772057" y="1232309"/>
                    <a:pt x="1750918" y="1249760"/>
                  </a:cubicBezTo>
                  <a:cubicBezTo>
                    <a:pt x="1645931" y="1335737"/>
                    <a:pt x="1554422" y="1416605"/>
                    <a:pt x="1469297" y="1496906"/>
                  </a:cubicBezTo>
                  <a:cubicBezTo>
                    <a:pt x="1286595" y="1668957"/>
                    <a:pt x="1118818" y="1856190"/>
                    <a:pt x="967769" y="2056602"/>
                  </a:cubicBezTo>
                  <a:cubicBezTo>
                    <a:pt x="890731" y="2159603"/>
                    <a:pt x="818800" y="2264590"/>
                    <a:pt x="754105" y="2368727"/>
                  </a:cubicBezTo>
                  <a:cubicBezTo>
                    <a:pt x="681749" y="2488328"/>
                    <a:pt x="622304" y="2596720"/>
                    <a:pt x="572364" y="2701140"/>
                  </a:cubicBezTo>
                  <a:cubicBezTo>
                    <a:pt x="557609" y="2730507"/>
                    <a:pt x="543989" y="2760443"/>
                    <a:pt x="532497" y="2786265"/>
                  </a:cubicBezTo>
                  <a:lnTo>
                    <a:pt x="512918" y="2828827"/>
                  </a:lnTo>
                  <a:lnTo>
                    <a:pt x="494475" y="2872240"/>
                  </a:lnTo>
                  <a:lnTo>
                    <a:pt x="491637" y="2878908"/>
                  </a:lnTo>
                  <a:cubicBezTo>
                    <a:pt x="480146" y="2906575"/>
                    <a:pt x="469220" y="2932821"/>
                    <a:pt x="459290" y="2959635"/>
                  </a:cubicBezTo>
                  <a:cubicBezTo>
                    <a:pt x="455176" y="2970559"/>
                    <a:pt x="451060" y="2981484"/>
                    <a:pt x="446805" y="2992408"/>
                  </a:cubicBezTo>
                  <a:cubicBezTo>
                    <a:pt x="439427" y="3012412"/>
                    <a:pt x="432333" y="3030572"/>
                    <a:pt x="426090" y="3049158"/>
                  </a:cubicBezTo>
                  <a:lnTo>
                    <a:pt x="426090" y="3049867"/>
                  </a:lnTo>
                  <a:cubicBezTo>
                    <a:pt x="383010" y="3169099"/>
                    <a:pt x="346959" y="3290756"/>
                    <a:pt x="318124" y="3414202"/>
                  </a:cubicBezTo>
                  <a:cubicBezTo>
                    <a:pt x="260107" y="3661703"/>
                    <a:pt x="230780" y="3915049"/>
                    <a:pt x="230729" y="4169260"/>
                  </a:cubicBezTo>
                  <a:cubicBezTo>
                    <a:pt x="231621" y="4295173"/>
                    <a:pt x="244398" y="4420719"/>
                    <a:pt x="268893" y="4544236"/>
                  </a:cubicBezTo>
                  <a:cubicBezTo>
                    <a:pt x="293708" y="4666304"/>
                    <a:pt x="330882" y="4785521"/>
                    <a:pt x="379840" y="4900056"/>
                  </a:cubicBezTo>
                  <a:cubicBezTo>
                    <a:pt x="387926" y="4919919"/>
                    <a:pt x="397006" y="4939498"/>
                    <a:pt x="406512" y="4960211"/>
                  </a:cubicBezTo>
                  <a:cubicBezTo>
                    <a:pt x="410343" y="4968299"/>
                    <a:pt x="414173" y="4976385"/>
                    <a:pt x="417862" y="4984613"/>
                  </a:cubicBezTo>
                  <a:lnTo>
                    <a:pt x="428077" y="5005043"/>
                  </a:lnTo>
                  <a:cubicBezTo>
                    <a:pt x="438860" y="5026751"/>
                    <a:pt x="449075" y="5047181"/>
                    <a:pt x="460140" y="5067327"/>
                  </a:cubicBezTo>
                  <a:cubicBezTo>
                    <a:pt x="485536" y="5116273"/>
                    <a:pt x="514763" y="5165789"/>
                    <a:pt x="555197" y="5229773"/>
                  </a:cubicBezTo>
                  <a:cubicBezTo>
                    <a:pt x="586836" y="5280282"/>
                    <a:pt x="620318" y="5329511"/>
                    <a:pt x="660611" y="5387396"/>
                  </a:cubicBezTo>
                  <a:cubicBezTo>
                    <a:pt x="698065" y="5440741"/>
                    <a:pt x="737223" y="5493094"/>
                    <a:pt x="774110" y="5542182"/>
                  </a:cubicBezTo>
                  <a:cubicBezTo>
                    <a:pt x="821070" y="5604324"/>
                    <a:pt x="870301" y="5667173"/>
                    <a:pt x="917829" y="5727896"/>
                  </a:cubicBezTo>
                  <a:cubicBezTo>
                    <a:pt x="949042" y="5767762"/>
                    <a:pt x="979828" y="5807063"/>
                    <a:pt x="1012885" y="5849767"/>
                  </a:cubicBezTo>
                  <a:cubicBezTo>
                    <a:pt x="1045942" y="5892471"/>
                    <a:pt x="1089497" y="5948796"/>
                    <a:pt x="1133053" y="6006822"/>
                  </a:cubicBezTo>
                  <a:cubicBezTo>
                    <a:pt x="1153624" y="6034345"/>
                    <a:pt x="1175332" y="6063998"/>
                    <a:pt x="1194343" y="6090245"/>
                  </a:cubicBezTo>
                  <a:cubicBezTo>
                    <a:pt x="1213355" y="6116491"/>
                    <a:pt x="1231372" y="6141178"/>
                    <a:pt x="1249390" y="6165155"/>
                  </a:cubicBezTo>
                  <a:cubicBezTo>
                    <a:pt x="1280461" y="6208000"/>
                    <a:pt x="1313659" y="6250847"/>
                    <a:pt x="1345724" y="6292132"/>
                  </a:cubicBezTo>
                  <a:lnTo>
                    <a:pt x="1364310" y="6316251"/>
                  </a:lnTo>
                  <a:lnTo>
                    <a:pt x="1373673" y="6327885"/>
                  </a:lnTo>
                  <a:cubicBezTo>
                    <a:pt x="1409566" y="6372433"/>
                    <a:pt x="1446738" y="6418542"/>
                    <a:pt x="1484619" y="6462240"/>
                  </a:cubicBezTo>
                  <a:cubicBezTo>
                    <a:pt x="1567899" y="6559850"/>
                    <a:pt x="1653876" y="6652211"/>
                    <a:pt x="1739000" y="6737335"/>
                  </a:cubicBezTo>
                  <a:lnTo>
                    <a:pt x="1866801" y="6858001"/>
                  </a:lnTo>
                  <a:lnTo>
                    <a:pt x="1144149" y="6858001"/>
                  </a:lnTo>
                  <a:lnTo>
                    <a:pt x="1058349" y="6766452"/>
                  </a:lnTo>
                  <a:cubicBezTo>
                    <a:pt x="878978" y="6562465"/>
                    <a:pt x="718756" y="6341104"/>
                    <a:pt x="580309" y="6105000"/>
                  </a:cubicBezTo>
                  <a:cubicBezTo>
                    <a:pt x="200401" y="5454007"/>
                    <a:pt x="146" y="4713831"/>
                    <a:pt x="1" y="3960094"/>
                  </a:cubicBezTo>
                  <a:cubicBezTo>
                    <a:pt x="-335" y="2196754"/>
                    <a:pt x="1071479" y="683605"/>
                    <a:pt x="2599292" y="37050"/>
                  </a:cubicBezTo>
                  <a:close/>
                </a:path>
              </a:pathLst>
            </a:custGeom>
            <a:gradFill>
              <a:gsLst>
                <a:gs pos="0">
                  <a:srgbClr val="FFFFFF">
                    <a:alpha val="9803"/>
                  </a:srgbClr>
                </a:gs>
                <a:gs pos="2000">
                  <a:srgbClr val="FFFFFF">
                    <a:alpha val="9803"/>
                  </a:srgbClr>
                </a:gs>
                <a:gs pos="16000">
                  <a:srgbClr val="A3B745">
                    <a:alpha val="9803"/>
                  </a:srgbClr>
                </a:gs>
                <a:gs pos="85000">
                  <a:srgbClr val="1C498B">
                    <a:alpha val="9803"/>
                  </a:srgbClr>
                </a:gs>
                <a:gs pos="100000">
                  <a:srgbClr val="FFFFFF">
                    <a:alpha val="9803"/>
                  </a:srgbClr>
                </a:gs>
              </a:gsLst>
              <a:lin ang="1200000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337" name="Google Shape;11337;p26"/>
          <p:cNvSpPr txBox="1"/>
          <p:nvPr/>
        </p:nvSpPr>
        <p:spPr>
          <a:xfrm>
            <a:off x="6235366" y="5501165"/>
            <a:ext cx="5727179" cy="1027855"/>
          </a:xfrm>
          <a:prstGeom prst="rect">
            <a:avLst/>
          </a:prstGeom>
          <a:noFill/>
          <a:ln w="9525" cap="flat" cmpd="sng">
            <a:solidFill>
              <a:srgbClr val="4472C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000"/>
              <a:buFont typeface="Arial"/>
              <a:buNone/>
            </a:pPr>
            <a:r>
              <a:rPr lang="en-US" sz="2000" b="0" i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Please email </a:t>
            </a:r>
            <a:r>
              <a:rPr lang="en-US" sz="2000" b="0" i="0" u="sng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eena.surenian@northwestern.edu</a:t>
            </a:r>
            <a:r>
              <a:rPr lang="en-US" sz="2000" b="0" i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> if you'd like to schedule a 1:1 meeting to review PREM survey results for your hospital</a:t>
            </a:r>
            <a:endParaRPr sz="2400" b="0" i="0">
              <a:solidFill>
                <a:schemeClr val="dk2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4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29" name="Google Shape;11429;p34"/>
          <p:cNvSpPr txBox="1">
            <a:spLocks noGrp="1"/>
          </p:cNvSpPr>
          <p:nvPr>
            <p:ph type="title"/>
          </p:nvPr>
        </p:nvSpPr>
        <p:spPr>
          <a:xfrm>
            <a:off x="1413310" y="1022009"/>
            <a:ext cx="10270945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Team Talk</a:t>
            </a:r>
            <a:endParaRPr/>
          </a:p>
        </p:txBody>
      </p:sp>
      <p:sp>
        <p:nvSpPr>
          <p:cNvPr id="11430" name="Google Shape;11430;p3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7675728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</a:pPr>
            <a:r>
              <a:rPr lang="en-US" sz="2600" b="1"/>
              <a:t>Swedish American Hospital – Rockford, IL</a:t>
            </a:r>
            <a:endParaRPr sz="2600" b="1"/>
          </a:p>
        </p:txBody>
      </p:sp>
    </p:spTree>
    <p:extLst>
      <p:ext uri="{BB962C8B-B14F-4D97-AF65-F5344CB8AC3E}">
        <p14:creationId xmlns:p14="http://schemas.microsoft.com/office/powerpoint/2010/main" val="5517472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ACBB43-5C7B-084B-877B-5EF90931306D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600" y="1322310"/>
            <a:ext cx="10871200" cy="2850879"/>
          </a:xfrm>
        </p:spPr>
        <p:txBody>
          <a:bodyPr/>
          <a:lstStyle/>
          <a:p>
            <a:r>
              <a:rPr lang="en-US" dirty="0"/>
              <a:t>UW Health- SwedishAmerican</a:t>
            </a:r>
            <a:br>
              <a:rPr lang="en-US" dirty="0"/>
            </a:br>
            <a:r>
              <a:rPr lang="en-US" sz="4800" b="0" i="1" dirty="0"/>
              <a:t>PREM Dashboard &amp; Survey Results</a:t>
            </a:r>
            <a:endParaRPr lang="en-US" b="0" i="1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1239877" y="4339543"/>
            <a:ext cx="5626639" cy="685218"/>
          </a:xfrm>
        </p:spPr>
        <p:txBody>
          <a:bodyPr>
            <a:normAutofit/>
          </a:bodyPr>
          <a:lstStyle/>
          <a:p>
            <a:r>
              <a:rPr lang="en-US" dirty="0"/>
              <a:t>Presented by: </a:t>
            </a:r>
          </a:p>
          <a:p>
            <a:r>
              <a:rPr lang="en-US" dirty="0"/>
              <a:t>Courtney Fisk, MSN, RNC-OB, C-EFM</a:t>
            </a:r>
          </a:p>
        </p:txBody>
      </p:sp>
    </p:spTree>
    <p:extLst>
      <p:ext uri="{BB962C8B-B14F-4D97-AF65-F5344CB8AC3E}">
        <p14:creationId xmlns:p14="http://schemas.microsoft.com/office/powerpoint/2010/main" val="354968847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929F8E-112B-2B6D-5B7D-E626AFBFEE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tilizing the Dashboard to Review &amp; Share Resul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54C408-DB5F-AB98-7E88-13952591AD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89321" y="1477151"/>
            <a:ext cx="4327988" cy="4307435"/>
          </a:xfrm>
        </p:spPr>
        <p:txBody>
          <a:bodyPr>
            <a:normAutofit fontScale="70000" lnSpcReduction="20000"/>
          </a:bodyPr>
          <a:lstStyle/>
          <a:p>
            <a:r>
              <a:rPr lang="en-US" dirty="0"/>
              <a:t>Data is reviewed monthly, shared quarterly</a:t>
            </a:r>
          </a:p>
          <a:p>
            <a:r>
              <a:rPr lang="en-US" dirty="0"/>
              <a:t>Committee reviews prior to sharing, discusses themes and opportunities</a:t>
            </a:r>
          </a:p>
          <a:p>
            <a:r>
              <a:rPr lang="en-US" dirty="0"/>
              <a:t>Shared with providers at provider meetings</a:t>
            </a:r>
          </a:p>
          <a:p>
            <a:r>
              <a:rPr lang="en-US" dirty="0"/>
              <a:t>Shared with staff at staff meetings, during huddles and printed for easy access to review on the unit</a:t>
            </a:r>
          </a:p>
          <a:p>
            <a:r>
              <a:rPr lang="en-US" dirty="0"/>
              <a:t>Highlight the great work, discuss opportunities for improvement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2E4DEA-A7D0-C884-9628-785213738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ACBB43-5C7B-084B-877B-5EF90931306D}" type="slidenum">
              <a:rPr lang="en-US" smtClean="0"/>
              <a:pPr/>
              <a:t>36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8BDA938-0E92-6664-711C-A925475A81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43768" y="2199043"/>
            <a:ext cx="6104708" cy="26500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93404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89320" y="720323"/>
            <a:ext cx="9854317" cy="390523"/>
          </a:xfrm>
        </p:spPr>
        <p:txBody>
          <a:bodyPr/>
          <a:lstStyle/>
          <a:p>
            <a:r>
              <a:rPr lang="en-US" dirty="0"/>
              <a:t>Creates Awarenes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Reviewing the data allows us to pinpoint “tricky” questions</a:t>
            </a:r>
          </a:p>
          <a:p>
            <a:pPr lvl="1"/>
            <a:r>
              <a:rPr lang="en-US" dirty="0"/>
              <a:t>Question #7 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r>
              <a:rPr lang="en-US" dirty="0"/>
              <a:t>Question #8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ACBB43-5C7B-084B-877B-5EF90931306D}" type="slidenum">
              <a:rPr lang="en-US" smtClean="0"/>
              <a:pPr/>
              <a:t>37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D5E6D7-0D7B-7166-E89B-8E0A0F9D84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3314" y="2431832"/>
            <a:ext cx="2305372" cy="103837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047D162-A710-59AF-F0E1-BFF55769D0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43314" y="4036651"/>
            <a:ext cx="2305372" cy="1038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56507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1EF3D-1086-4BBE-E0FE-31523A4C44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king Meaningful Chan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6D18B0-DD32-67F7-4AF8-8F64CB6C090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Compare data with other quality work (i.e.- PVB)</a:t>
            </a:r>
          </a:p>
          <a:p>
            <a:r>
              <a:rPr lang="en-US" dirty="0"/>
              <a:t>Take advantage of each opportunity and be “survey ready” </a:t>
            </a:r>
          </a:p>
          <a:p>
            <a:pPr lvl="1"/>
            <a:r>
              <a:rPr lang="en-US" dirty="0"/>
              <a:t>Leadership rounds </a:t>
            </a:r>
          </a:p>
          <a:p>
            <a:pPr lvl="1"/>
            <a:r>
              <a:rPr lang="en-US" dirty="0"/>
              <a:t>Nurse/Physician rounding </a:t>
            </a:r>
          </a:p>
          <a:p>
            <a:pPr lvl="1"/>
            <a:r>
              <a:rPr lang="en-US" dirty="0"/>
              <a:t>Communicating using survey verbiage </a:t>
            </a:r>
          </a:p>
          <a:p>
            <a:r>
              <a:rPr lang="en-US" dirty="0"/>
              <a:t>Helps the committee choose focus areas for education, meeting/huddle topics, communication </a:t>
            </a:r>
            <a:r>
              <a:rPr lang="en-US"/>
              <a:t>during rounding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4B92D0-71F2-E6E8-E7EE-F95EB43433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ACBB43-5C7B-084B-877B-5EF90931306D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983645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CA0371-150E-445C-9D57-B91EF86E70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of Shared PREM Resul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458004-6E2C-93BC-1B64-1F7C41BEB6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ACBB43-5C7B-084B-877B-5EF90931306D}" type="slidenum">
              <a:rPr lang="en-US" smtClean="0"/>
              <a:pPr/>
              <a:t>39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AD4B6F5-A4EA-45BD-C7DE-4D4A16C210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50042" y="1621194"/>
            <a:ext cx="6007994" cy="420307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1F52B9D-A758-D6F1-A713-FA615C869A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0703" y="1621194"/>
            <a:ext cx="1759339" cy="4105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11223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1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42" name="Google Shape;11042;p4"/>
          <p:cNvSpPr/>
          <p:nvPr/>
        </p:nvSpPr>
        <p:spPr>
          <a:xfrm>
            <a:off x="-1" y="0"/>
            <a:ext cx="12188952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43" name="Google Shape;11043;p4"/>
          <p:cNvSpPr txBox="1">
            <a:spLocks noGrp="1"/>
          </p:cNvSpPr>
          <p:nvPr>
            <p:ph type="title"/>
          </p:nvPr>
        </p:nvSpPr>
        <p:spPr>
          <a:xfrm>
            <a:off x="6551550" y="-569403"/>
            <a:ext cx="5593003" cy="24128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4000"/>
              <a:buFont typeface="Calibri"/>
              <a:buNone/>
            </a:pPr>
            <a:r>
              <a:rPr lang="en-US" sz="4000">
                <a:solidFill>
                  <a:schemeClr val="accent3"/>
                </a:solidFill>
              </a:rPr>
              <a:t>E.N.G.A.G.E.</a:t>
            </a:r>
            <a:r>
              <a:rPr lang="en-US" sz="4000"/>
              <a:t> in ILPQC's</a:t>
            </a:r>
            <a:br>
              <a:rPr lang="en-US" sz="4000"/>
            </a:br>
            <a:r>
              <a:rPr lang="en-US" sz="4000"/>
              <a:t>Annual Conference 2023</a:t>
            </a:r>
            <a:endParaRPr sz="4000"/>
          </a:p>
        </p:txBody>
      </p:sp>
      <p:pic>
        <p:nvPicPr>
          <p:cNvPr id="11044" name="Google Shape;11044;p4" descr="A group of women wearing face masks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 r="-4"/>
          <a:stretch/>
        </p:blipFill>
        <p:spPr>
          <a:xfrm>
            <a:off x="-1" y="10"/>
            <a:ext cx="3003123" cy="389238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045" name="Google Shape;11045;p4" descr="A group of women wearing face masks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 b="-2"/>
          <a:stretch/>
        </p:blipFill>
        <p:spPr>
          <a:xfrm>
            <a:off x="3180257" y="10"/>
            <a:ext cx="3016307" cy="278593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046" name="Google Shape;11046;p4" descr="A sign on a table with an apple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-1" y="4079988"/>
            <a:ext cx="3003123" cy="2778013"/>
          </a:xfrm>
          <a:prstGeom prst="rect">
            <a:avLst/>
          </a:prstGeom>
          <a:noFill/>
          <a:ln>
            <a:noFill/>
          </a:ln>
        </p:spPr>
      </p:pic>
      <p:pic>
        <p:nvPicPr>
          <p:cNvPr id="11047" name="Google Shape;11047;p4" descr="A group of women posing for a photo&#10;&#10;Description automatically generated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3180257" y="2957665"/>
            <a:ext cx="3016307" cy="3900335"/>
          </a:xfrm>
          <a:prstGeom prst="rect">
            <a:avLst/>
          </a:prstGeom>
          <a:noFill/>
          <a:ln>
            <a:noFill/>
          </a:ln>
        </p:spPr>
      </p:pic>
      <p:sp>
        <p:nvSpPr>
          <p:cNvPr id="11048" name="Google Shape;11048;p4"/>
          <p:cNvSpPr txBox="1">
            <a:spLocks noGrp="1"/>
          </p:cNvSpPr>
          <p:nvPr>
            <p:ph type="body" idx="1"/>
          </p:nvPr>
        </p:nvSpPr>
        <p:spPr>
          <a:xfrm>
            <a:off x="8133059" y="1951251"/>
            <a:ext cx="2228702" cy="31785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Char char="•"/>
            </a:pPr>
            <a:r>
              <a:rPr lang="en-US" sz="2600" b="1">
                <a:solidFill>
                  <a:schemeClr val="accent3"/>
                </a:solidFill>
              </a:rPr>
              <a:t>Exchange</a:t>
            </a:r>
            <a:endParaRPr sz="2600" b="1">
              <a:solidFill>
                <a:schemeClr val="accent3"/>
              </a:solidFill>
            </a:endParaRPr>
          </a:p>
          <a:p>
            <a:pPr marL="228600" lvl="0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600"/>
              <a:buChar char="•"/>
            </a:pPr>
            <a:r>
              <a:rPr lang="en-US" sz="2600" b="1">
                <a:solidFill>
                  <a:schemeClr val="accent3"/>
                </a:solidFill>
              </a:rPr>
              <a:t>Network </a:t>
            </a:r>
            <a:endParaRPr/>
          </a:p>
          <a:p>
            <a:pPr marL="228600" lvl="0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600"/>
              <a:buChar char="•"/>
            </a:pPr>
            <a:r>
              <a:rPr lang="en-US" sz="2600" b="1">
                <a:solidFill>
                  <a:schemeClr val="accent3"/>
                </a:solidFill>
              </a:rPr>
              <a:t>Gain</a:t>
            </a:r>
            <a:endParaRPr/>
          </a:p>
          <a:p>
            <a:pPr marL="228600" lvl="0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600"/>
              <a:buChar char="•"/>
            </a:pPr>
            <a:r>
              <a:rPr lang="en-US" sz="2600" b="1">
                <a:solidFill>
                  <a:schemeClr val="accent3"/>
                </a:solidFill>
              </a:rPr>
              <a:t>Apply</a:t>
            </a:r>
            <a:endParaRPr/>
          </a:p>
          <a:p>
            <a:pPr marL="228600" lvl="0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600"/>
              <a:buChar char="•"/>
            </a:pPr>
            <a:r>
              <a:rPr lang="en-US" sz="2600" b="1">
                <a:solidFill>
                  <a:schemeClr val="accent3"/>
                </a:solidFill>
              </a:rPr>
              <a:t>Gather</a:t>
            </a:r>
            <a:endParaRPr/>
          </a:p>
          <a:p>
            <a:pPr marL="228600" lvl="0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600"/>
              <a:buChar char="•"/>
            </a:pPr>
            <a:r>
              <a:rPr lang="en-US" sz="2600" b="1">
                <a:solidFill>
                  <a:schemeClr val="accent3"/>
                </a:solidFill>
              </a:rPr>
              <a:t>Energize</a:t>
            </a:r>
            <a:r>
              <a:rPr lang="en-US" sz="2350"/>
              <a:t> </a:t>
            </a:r>
            <a:endParaRPr sz="2350"/>
          </a:p>
        </p:txBody>
      </p:sp>
      <p:sp>
        <p:nvSpPr>
          <p:cNvPr id="11049" name="Google Shape;11049;p4"/>
          <p:cNvSpPr txBox="1">
            <a:spLocks noGrp="1"/>
          </p:cNvSpPr>
          <p:nvPr>
            <p:ph type="sldNum" idx="12"/>
          </p:nvPr>
        </p:nvSpPr>
        <p:spPr>
          <a:xfrm>
            <a:off x="10666350" y="6356350"/>
            <a:ext cx="68745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4</a:t>
            </a:fld>
            <a:endParaRPr/>
          </a:p>
        </p:txBody>
      </p:sp>
      <p:sp>
        <p:nvSpPr>
          <p:cNvPr id="11050" name="Google Shape;11050;p4"/>
          <p:cNvSpPr txBox="1"/>
          <p:nvPr/>
        </p:nvSpPr>
        <p:spPr>
          <a:xfrm>
            <a:off x="6500191" y="5277678"/>
            <a:ext cx="27432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51" name="Google Shape;11051;p4"/>
          <p:cNvSpPr txBox="1"/>
          <p:nvPr/>
        </p:nvSpPr>
        <p:spPr>
          <a:xfrm>
            <a:off x="6498940" y="4898710"/>
            <a:ext cx="5710248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Make sure at least one physician champion and one nurse champion are there to represent your hospital. </a:t>
            </a: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 </a:t>
            </a: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691FF2-5252-FEF8-CB61-F1F51A8694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of Shared PREM Resul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B77EAC-B5E6-B3D3-4193-0FA42E4B36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ACBB43-5C7B-084B-877B-5EF90931306D}" type="slidenum">
              <a:rPr lang="en-US" smtClean="0"/>
              <a:pPr/>
              <a:t>40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FE76701-CD84-1858-DA47-D915FAD49C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6035" y="1071672"/>
            <a:ext cx="7466167" cy="5310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34388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42" name="Google Shape;11342;p27"/>
          <p:cNvSpPr txBox="1">
            <a:spLocks noGrp="1"/>
          </p:cNvSpPr>
          <p:nvPr>
            <p:ph type="title"/>
          </p:nvPr>
        </p:nvSpPr>
        <p:spPr>
          <a:xfrm>
            <a:off x="1413310" y="1022009"/>
            <a:ext cx="10270945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Our ILPQC Goal for Patient Engagement</a:t>
            </a:r>
            <a:endParaRPr/>
          </a:p>
        </p:txBody>
      </p:sp>
      <p:sp>
        <p:nvSpPr>
          <p:cNvPr id="11343" name="Google Shape;11343;p2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7675728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</a:pPr>
            <a:endParaRPr sz="2600" b="1"/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1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48" name="Google Shape;11348;p2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  <a:ln>
            <a:noFill/>
          </a:ln>
        </p:spPr>
      </p:pic>
      <p:sp>
        <p:nvSpPr>
          <p:cNvPr id="11349" name="Google Shape;11349;p28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F3F6FB">
                  <a:alpha val="67843"/>
                </a:srgbClr>
              </a:gs>
              <a:gs pos="10000">
                <a:srgbClr val="F3F6FB">
                  <a:alpha val="67843"/>
                </a:srgbClr>
              </a:gs>
              <a:gs pos="85000">
                <a:srgbClr val="F3F6FB">
                  <a:alpha val="96862"/>
                </a:srgbClr>
              </a:gs>
              <a:gs pos="100000">
                <a:srgbClr val="F3F6FB">
                  <a:alpha val="96862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50" name="Google Shape;11350;p28"/>
          <p:cNvSpPr txBox="1">
            <a:spLocks noGrp="1"/>
          </p:cNvSpPr>
          <p:nvPr>
            <p:ph type="title"/>
          </p:nvPr>
        </p:nvSpPr>
        <p:spPr>
          <a:xfrm>
            <a:off x="242877" y="-181214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Our ILPQC goal for Patient Engagement</a:t>
            </a:r>
            <a:endParaRPr/>
          </a:p>
        </p:txBody>
      </p:sp>
      <p:sp>
        <p:nvSpPr>
          <p:cNvPr id="11351" name="Google Shape;11351;p2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11352" name="Google Shape;11352;p2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42</a:t>
            </a:fld>
            <a:endParaRPr/>
          </a:p>
        </p:txBody>
      </p:sp>
      <p:grpSp>
        <p:nvGrpSpPr>
          <p:cNvPr id="11353" name="Google Shape;11353;p28"/>
          <p:cNvGrpSpPr/>
          <p:nvPr/>
        </p:nvGrpSpPr>
        <p:grpSpPr>
          <a:xfrm>
            <a:off x="241540" y="958230"/>
            <a:ext cx="11716108" cy="5396014"/>
            <a:chOff x="0" y="2435"/>
            <a:chExt cx="11716108" cy="5396014"/>
          </a:xfrm>
        </p:grpSpPr>
        <p:sp>
          <p:nvSpPr>
            <p:cNvPr id="11354" name="Google Shape;11354;p28"/>
            <p:cNvSpPr/>
            <p:nvPr/>
          </p:nvSpPr>
          <p:spPr>
            <a:xfrm>
              <a:off x="0" y="3259720"/>
              <a:ext cx="11716108" cy="2138729"/>
            </a:xfrm>
            <a:prstGeom prst="rect">
              <a:avLst/>
            </a:prstGeom>
            <a:gradFill>
              <a:gsLst>
                <a:gs pos="0">
                  <a:srgbClr val="F7789B"/>
                </a:gs>
                <a:gs pos="50000">
                  <a:srgbClr val="FC5C8B"/>
                </a:gs>
                <a:gs pos="100000">
                  <a:srgbClr val="E34976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5" name="Google Shape;11355;p28"/>
            <p:cNvSpPr txBox="1"/>
            <p:nvPr/>
          </p:nvSpPr>
          <p:spPr>
            <a:xfrm>
              <a:off x="0" y="3259720"/>
              <a:ext cx="11716108" cy="115491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06225" tIns="206225" rIns="206225" bIns="2062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900"/>
                <a:buFont typeface="Calibri"/>
                <a:buNone/>
              </a:pPr>
              <a:r>
                <a:rPr lang="en-US" sz="2900" b="0" i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Every team to engage a Patient Partner to work with their QI team by 11/2</a:t>
              </a:r>
              <a:endParaRPr sz="29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56" name="Google Shape;11356;p28"/>
            <p:cNvSpPr/>
            <p:nvPr/>
          </p:nvSpPr>
          <p:spPr>
            <a:xfrm>
              <a:off x="0" y="4371859"/>
              <a:ext cx="11716108" cy="983815"/>
            </a:xfrm>
            <a:prstGeom prst="rect">
              <a:avLst/>
            </a:prstGeom>
            <a:solidFill>
              <a:srgbClr val="FBD2DB">
                <a:alpha val="89803"/>
              </a:srgbClr>
            </a:solidFill>
            <a:ln w="9525" cap="flat" cmpd="sng">
              <a:solidFill>
                <a:srgbClr val="FBD2DB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7" name="Google Shape;11357;p28"/>
            <p:cNvSpPr txBox="1"/>
            <p:nvPr/>
          </p:nvSpPr>
          <p:spPr>
            <a:xfrm>
              <a:off x="0" y="4371859"/>
              <a:ext cx="11716108" cy="98381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13775" tIns="20300" rIns="113775" bIns="203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Calibri"/>
                <a:buNone/>
              </a:pPr>
              <a:r>
                <a:rPr lang="en-US" sz="1600" b="0" i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You may identify patients to ask if they want to work with your QI team as a Patient Partner through Respectful Care Breakfasts</a:t>
              </a:r>
              <a:endParaRPr sz="1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58" name="Google Shape;11358;p28"/>
            <p:cNvSpPr/>
            <p:nvPr/>
          </p:nvSpPr>
          <p:spPr>
            <a:xfrm rot="10800000">
              <a:off x="0" y="2435"/>
              <a:ext cx="11716108" cy="3289365"/>
            </a:xfrm>
            <a:prstGeom prst="upArrowCallout">
              <a:avLst>
                <a:gd name="adj1" fmla="val 25000"/>
                <a:gd name="adj2" fmla="val 25000"/>
                <a:gd name="adj3" fmla="val 25000"/>
                <a:gd name="adj4" fmla="val 64977"/>
              </a:avLst>
            </a:prstGeom>
            <a:gradFill>
              <a:gsLst>
                <a:gs pos="0">
                  <a:srgbClr val="F79178"/>
                </a:gs>
                <a:gs pos="50000">
                  <a:srgbClr val="FC7D5C"/>
                </a:gs>
                <a:gs pos="100000">
                  <a:srgbClr val="E36A49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59" name="Google Shape;11359;p28"/>
            <p:cNvSpPr txBox="1"/>
            <p:nvPr/>
          </p:nvSpPr>
          <p:spPr>
            <a:xfrm>
              <a:off x="0" y="2435"/>
              <a:ext cx="11716108" cy="115456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06225" tIns="206225" rIns="206225" bIns="206225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900"/>
                <a:buFont typeface="Calibri"/>
                <a:buNone/>
              </a:pPr>
              <a:r>
                <a:rPr lang="en-US" sz="2900" b="0" i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Every team to hold a Respectful Care Breakfast </a:t>
              </a:r>
              <a:endParaRPr sz="29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60" name="Google Shape;11360;p28"/>
            <p:cNvSpPr/>
            <p:nvPr/>
          </p:nvSpPr>
          <p:spPr>
            <a:xfrm>
              <a:off x="5720" y="1157002"/>
              <a:ext cx="3901555" cy="983520"/>
            </a:xfrm>
            <a:prstGeom prst="rect">
              <a:avLst/>
            </a:prstGeom>
            <a:solidFill>
              <a:srgbClr val="FBD8D2">
                <a:alpha val="89803"/>
              </a:srgbClr>
            </a:solidFill>
            <a:ln w="9525" cap="flat" cmpd="sng">
              <a:solidFill>
                <a:srgbClr val="FBD8D2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1" name="Google Shape;11361;p28"/>
            <p:cNvSpPr txBox="1"/>
            <p:nvPr/>
          </p:nvSpPr>
          <p:spPr>
            <a:xfrm>
              <a:off x="5720" y="1157002"/>
              <a:ext cx="3901555" cy="9835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13775" tIns="20300" rIns="113775" bIns="203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Calibri"/>
                <a:buNone/>
              </a:pPr>
              <a:r>
                <a:rPr lang="en-US" sz="1600" b="0" i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Ask doulas or lactation counselor, midwives/docs to consider patients to invite or ask NICU moms…</a:t>
              </a:r>
              <a:endParaRPr sz="1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62" name="Google Shape;11362;p28"/>
            <p:cNvSpPr/>
            <p:nvPr/>
          </p:nvSpPr>
          <p:spPr>
            <a:xfrm>
              <a:off x="3907276" y="1157002"/>
              <a:ext cx="3901555" cy="983520"/>
            </a:xfrm>
            <a:prstGeom prst="rect">
              <a:avLst/>
            </a:prstGeom>
            <a:solidFill>
              <a:srgbClr val="FEF0C8">
                <a:alpha val="89803"/>
              </a:srgbClr>
            </a:solidFill>
            <a:ln w="9525" cap="flat" cmpd="sng">
              <a:solidFill>
                <a:srgbClr val="FEF0C8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3" name="Google Shape;11363;p28"/>
            <p:cNvSpPr txBox="1"/>
            <p:nvPr/>
          </p:nvSpPr>
          <p:spPr>
            <a:xfrm>
              <a:off x="3907276" y="1157002"/>
              <a:ext cx="3901555" cy="9835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13775" tIns="20300" rIns="113775" bIns="203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Calibri"/>
                <a:buNone/>
              </a:pPr>
              <a:r>
                <a:rPr lang="en-US" sz="1600" b="0" i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Celebrate and talk about Respectful Care and strategies to increase Respectful Care Practices (how can we improve shared decision making, active listening)</a:t>
              </a:r>
              <a:endParaRPr sz="1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64" name="Google Shape;11364;p28"/>
            <p:cNvSpPr/>
            <p:nvPr/>
          </p:nvSpPr>
          <p:spPr>
            <a:xfrm>
              <a:off x="7808831" y="1157002"/>
              <a:ext cx="3901555" cy="983520"/>
            </a:xfrm>
            <a:prstGeom prst="rect">
              <a:avLst/>
            </a:prstGeom>
            <a:solidFill>
              <a:srgbClr val="D2DCFC">
                <a:alpha val="89803"/>
              </a:srgbClr>
            </a:solidFill>
            <a:ln w="9525" cap="flat" cmpd="sng">
              <a:solidFill>
                <a:srgbClr val="D2DCFC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65" name="Google Shape;11365;p28"/>
            <p:cNvSpPr txBox="1"/>
            <p:nvPr/>
          </p:nvSpPr>
          <p:spPr>
            <a:xfrm>
              <a:off x="7808831" y="1157002"/>
              <a:ext cx="3901555" cy="98352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13775" tIns="20300" rIns="113775" bIns="203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600"/>
                <a:buFont typeface="Calibri"/>
                <a:buNone/>
              </a:pPr>
              <a:r>
                <a:rPr lang="en-US" sz="1600" b="0" i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Make sure to also invite OB providers / nurses to attend and use name tags </a:t>
              </a:r>
              <a:endParaRPr sz="1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1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70" name="Google Shape;11370;p2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71" name="Google Shape;11371;p29"/>
          <p:cNvSpPr txBox="1">
            <a:spLocks noGrp="1"/>
          </p:cNvSpPr>
          <p:nvPr>
            <p:ph type="title"/>
          </p:nvPr>
        </p:nvSpPr>
        <p:spPr>
          <a:xfrm>
            <a:off x="655320" y="429030"/>
            <a:ext cx="2834640" cy="54575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</a:pPr>
            <a:r>
              <a:rPr lang="en-US" sz="4000"/>
              <a:t>Patient Engagement Leader</a:t>
            </a:r>
            <a:br>
              <a:rPr lang="en-US" sz="4000"/>
            </a:br>
            <a:r>
              <a:rPr lang="en-US" sz="4000"/>
              <a:t>Recognition at Annual Conference</a:t>
            </a:r>
            <a:endParaRPr sz="4000"/>
          </a:p>
        </p:txBody>
      </p:sp>
      <p:sp>
        <p:nvSpPr>
          <p:cNvPr id="11372" name="Google Shape;11372;p29"/>
          <p:cNvSpPr/>
          <p:nvPr/>
        </p:nvSpPr>
        <p:spPr>
          <a:xfrm>
            <a:off x="655320" y="6112341"/>
            <a:ext cx="10835640" cy="18288"/>
          </a:xfrm>
          <a:prstGeom prst="rect">
            <a:avLst/>
          </a:prstGeom>
          <a:solidFill>
            <a:srgbClr val="D5D5D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73" name="Google Shape;11373;p29"/>
          <p:cNvSpPr/>
          <p:nvPr/>
        </p:nvSpPr>
        <p:spPr>
          <a:xfrm rot="5400000">
            <a:off x="2045208" y="4686084"/>
            <a:ext cx="54864" cy="28346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74" name="Google Shape;11374;p2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rgbClr val="9CA5AE"/>
                </a:solidFill>
              </a:rPr>
              <a:t>Illinois Perinatal Quality Collaborative</a:t>
            </a:r>
            <a:endParaRPr/>
          </a:p>
        </p:txBody>
      </p:sp>
      <p:sp>
        <p:nvSpPr>
          <p:cNvPr id="11375" name="Google Shape;11375;p29"/>
          <p:cNvSpPr txBox="1">
            <a:spLocks noGrp="1"/>
          </p:cNvSpPr>
          <p:nvPr>
            <p:ph type="sldNum" idx="12"/>
          </p:nvPr>
        </p:nvSpPr>
        <p:spPr>
          <a:xfrm>
            <a:off x="879348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>
                <a:solidFill>
                  <a:srgbClr val="9CA5AE"/>
                </a:solidFill>
              </a:rPr>
              <a:t>43</a:t>
            </a:fld>
            <a:endParaRPr>
              <a:solidFill>
                <a:srgbClr val="9CA5AE"/>
              </a:solidFill>
            </a:endParaRPr>
          </a:p>
        </p:txBody>
      </p:sp>
      <p:grpSp>
        <p:nvGrpSpPr>
          <p:cNvPr id="11376" name="Google Shape;11376;p29"/>
          <p:cNvGrpSpPr/>
          <p:nvPr/>
        </p:nvGrpSpPr>
        <p:grpSpPr>
          <a:xfrm>
            <a:off x="4084780" y="357143"/>
            <a:ext cx="7452360" cy="5459706"/>
            <a:chOff x="0" y="0"/>
            <a:chExt cx="7452360" cy="5459706"/>
          </a:xfrm>
        </p:grpSpPr>
        <p:sp>
          <p:nvSpPr>
            <p:cNvPr id="11377" name="Google Shape;11377;p29"/>
            <p:cNvSpPr/>
            <p:nvPr/>
          </p:nvSpPr>
          <p:spPr>
            <a:xfrm>
              <a:off x="0" y="0"/>
              <a:ext cx="7452360" cy="5459706"/>
            </a:xfrm>
            <a:prstGeom prst="rect">
              <a:avLst/>
            </a:prstGeom>
            <a:solidFill>
              <a:srgbClr val="F5658F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78" name="Google Shape;11378;p29"/>
            <p:cNvSpPr txBox="1"/>
            <p:nvPr/>
          </p:nvSpPr>
          <p:spPr>
            <a:xfrm>
              <a:off x="0" y="0"/>
              <a:ext cx="7452360" cy="294824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69800" tIns="369800" rIns="369800" bIns="369800" anchor="ctr" anchorCtr="0">
              <a:noAutofit/>
            </a:bodyPr>
            <a:lstStyle/>
            <a:p>
              <a:pPr marL="0" marR="0" lvl="0" indent="0" algn="ct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5200"/>
                <a:buFont typeface="Calibri"/>
                <a:buNone/>
              </a:pPr>
              <a:r>
                <a:rPr lang="en-US" sz="5200" b="0" i="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You will be recognized as a patient engagement leader if:</a:t>
              </a:r>
              <a:endParaRPr sz="52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79" name="Google Shape;11379;p29"/>
            <p:cNvSpPr/>
            <p:nvPr/>
          </p:nvSpPr>
          <p:spPr>
            <a:xfrm>
              <a:off x="0" y="2839047"/>
              <a:ext cx="3726179" cy="2511464"/>
            </a:xfrm>
            <a:prstGeom prst="rect">
              <a:avLst/>
            </a:prstGeom>
            <a:solidFill>
              <a:srgbClr val="FBD2DB">
                <a:alpha val="89803"/>
              </a:srgbClr>
            </a:solidFill>
            <a:ln w="12700" cap="flat" cmpd="sng">
              <a:solidFill>
                <a:srgbClr val="FBD2DB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0" name="Google Shape;11380;p29"/>
            <p:cNvSpPr txBox="1"/>
            <p:nvPr/>
          </p:nvSpPr>
          <p:spPr>
            <a:xfrm>
              <a:off x="0" y="2839047"/>
              <a:ext cx="3726179" cy="251146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4900" tIns="33000" rIns="184900" bIns="33000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600"/>
                <a:buFont typeface="Calibri"/>
                <a:buNone/>
              </a:pPr>
              <a:r>
                <a:rPr lang="en-US" sz="2600" b="0" i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You hosted a respectful care breakfast</a:t>
              </a:r>
              <a:endParaRPr sz="2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228600" marR="0" lvl="1" indent="-228600" algn="l" rtl="0">
                <a:lnSpc>
                  <a:spcPct val="90000"/>
                </a:lnSpc>
                <a:spcBef>
                  <a:spcPts val="91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Calibri"/>
                <a:buChar char="•"/>
              </a:pPr>
              <a:r>
                <a:rPr lang="en-US" sz="20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Post-event survey submitted by attendees</a:t>
              </a:r>
              <a:endParaRPr/>
            </a:p>
          </p:txBody>
        </p:sp>
        <p:sp>
          <p:nvSpPr>
            <p:cNvPr id="11381" name="Google Shape;11381;p29"/>
            <p:cNvSpPr/>
            <p:nvPr/>
          </p:nvSpPr>
          <p:spPr>
            <a:xfrm>
              <a:off x="3726180" y="2839047"/>
              <a:ext cx="3726179" cy="2511464"/>
            </a:xfrm>
            <a:prstGeom prst="rect">
              <a:avLst/>
            </a:prstGeom>
            <a:solidFill>
              <a:srgbClr val="FBD6D2">
                <a:alpha val="89803"/>
              </a:srgbClr>
            </a:solidFill>
            <a:ln w="12700" cap="flat" cmpd="sng">
              <a:solidFill>
                <a:srgbClr val="FBD6D2">
                  <a:alpha val="89803"/>
                </a:srgbClr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82" name="Google Shape;11382;p29"/>
            <p:cNvSpPr txBox="1"/>
            <p:nvPr/>
          </p:nvSpPr>
          <p:spPr>
            <a:xfrm>
              <a:off x="3726180" y="2839047"/>
              <a:ext cx="3726179" cy="251146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4900" tIns="33000" rIns="184900" bIns="33000" anchor="t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600"/>
                <a:buFont typeface="Calibri"/>
                <a:buNone/>
              </a:pPr>
              <a:r>
                <a:rPr lang="en-US" sz="2600" b="0" i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You have identified a patient partner for your QI team</a:t>
              </a:r>
              <a:endParaRPr sz="2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228600" marR="0" lvl="1" indent="-228600" algn="l" rtl="0">
                <a:lnSpc>
                  <a:spcPct val="90000"/>
                </a:lnSpc>
                <a:spcBef>
                  <a:spcPts val="91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Calibri"/>
                <a:buChar char="•"/>
              </a:pPr>
              <a:r>
                <a:rPr lang="en-US" sz="20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Reach out to ILPQC with the name of your patient partner</a:t>
              </a:r>
              <a:endPara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228600" marR="0" lvl="1" indent="-228600" algn="l" rtl="0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>
                  <a:schemeClr val="dk1"/>
                </a:buClr>
                <a:buSzPts val="2000"/>
                <a:buFont typeface="Calibri"/>
                <a:buChar char="•"/>
              </a:pPr>
              <a:r>
                <a:rPr lang="en-US" sz="20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ILPQC will organize a patient partner training!</a:t>
              </a:r>
              <a:endPara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383" name="Google Shape;11383;p29"/>
          <p:cNvSpPr txBox="1"/>
          <p:nvPr/>
        </p:nvSpPr>
        <p:spPr>
          <a:xfrm>
            <a:off x="12782697" y="3331534"/>
            <a:ext cx="27432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384" name="Google Shape;11384;p29" descr="Ribbon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354521" y="355010"/>
            <a:ext cx="1487376" cy="149328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1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89" name="Google Shape;11389;p30"/>
          <p:cNvSpPr/>
          <p:nvPr/>
        </p:nvSpPr>
        <p:spPr>
          <a:xfrm>
            <a:off x="3048" y="0"/>
            <a:ext cx="12188952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90" name="Google Shape;11390;p30"/>
          <p:cNvSpPr/>
          <p:nvPr/>
        </p:nvSpPr>
        <p:spPr>
          <a:xfrm>
            <a:off x="1" y="0"/>
            <a:ext cx="4167271" cy="6858000"/>
          </a:xfrm>
          <a:custGeom>
            <a:avLst/>
            <a:gdLst/>
            <a:ahLst/>
            <a:cxnLst/>
            <a:rect l="l" t="t" r="r" b="b"/>
            <a:pathLst>
              <a:path w="4167271" h="6858000" extrusionOk="0">
                <a:moveTo>
                  <a:pt x="0" y="0"/>
                </a:moveTo>
                <a:lnTo>
                  <a:pt x="2259550" y="0"/>
                </a:lnTo>
                <a:lnTo>
                  <a:pt x="2387803" y="82222"/>
                </a:lnTo>
                <a:cubicBezTo>
                  <a:pt x="3461407" y="807534"/>
                  <a:pt x="4167271" y="2035835"/>
                  <a:pt x="4167271" y="3429000"/>
                </a:cubicBezTo>
                <a:cubicBezTo>
                  <a:pt x="4167271" y="4822165"/>
                  <a:pt x="3461407" y="6050467"/>
                  <a:pt x="2387803" y="6775779"/>
                </a:cubicBezTo>
                <a:lnTo>
                  <a:pt x="22595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91" name="Google Shape;11391;p30"/>
          <p:cNvSpPr txBox="1">
            <a:spLocks noGrp="1"/>
          </p:cNvSpPr>
          <p:nvPr>
            <p:ph type="title"/>
          </p:nvPr>
        </p:nvSpPr>
        <p:spPr>
          <a:xfrm>
            <a:off x="686834" y="1153572"/>
            <a:ext cx="3200400" cy="44611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Calibri"/>
              <a:buNone/>
            </a:pPr>
            <a:r>
              <a:rPr lang="en-US">
                <a:solidFill>
                  <a:srgbClr val="FFFFFF"/>
                </a:solidFill>
              </a:rPr>
              <a:t>Once a patient partner for your BE QI team has been identified:</a:t>
            </a:r>
            <a:endParaRPr/>
          </a:p>
        </p:txBody>
      </p:sp>
      <p:sp>
        <p:nvSpPr>
          <p:cNvPr id="11392" name="Google Shape;11392;p30"/>
          <p:cNvSpPr/>
          <p:nvPr/>
        </p:nvSpPr>
        <p:spPr>
          <a:xfrm rot="10800000" flipH="1">
            <a:off x="7550402" y="2455479"/>
            <a:ext cx="4083433" cy="4083433"/>
          </a:xfrm>
          <a:prstGeom prst="arc">
            <a:avLst>
              <a:gd name="adj1" fmla="val 16200000"/>
              <a:gd name="adj2" fmla="val 0"/>
            </a:avLst>
          </a:prstGeom>
          <a:noFill/>
          <a:ln w="127000" cap="rnd" cmpd="sng">
            <a:solidFill>
              <a:schemeClr val="accent4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93" name="Google Shape;11393;p30"/>
          <p:cNvSpPr txBox="1">
            <a:spLocks noGrp="1"/>
          </p:cNvSpPr>
          <p:nvPr>
            <p:ph type="body" idx="1"/>
          </p:nvPr>
        </p:nvSpPr>
        <p:spPr>
          <a:xfrm>
            <a:off x="4447308" y="591344"/>
            <a:ext cx="6906491" cy="55856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2286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Char char="•"/>
            </a:pPr>
            <a:r>
              <a:rPr lang="en-US"/>
              <a:t>Inform ILPQC </a:t>
            </a:r>
            <a:endParaRPr/>
          </a:p>
          <a:p>
            <a:pPr marL="228600" lvl="0" indent="-2286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SzPts val="2400"/>
              <a:buChar char="•"/>
            </a:pPr>
            <a:r>
              <a:rPr lang="en-US"/>
              <a:t>We are offering a free training for all patient partners (Momma’s Voices)</a:t>
            </a:r>
            <a:endParaRPr/>
          </a:p>
          <a:p>
            <a:pPr marL="228600" lvl="0" indent="-2286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rgbClr val="F5668F"/>
              </a:buClr>
              <a:buSzPts val="2400"/>
              <a:buChar char="•"/>
            </a:pPr>
            <a:r>
              <a:rPr lang="en-US"/>
              <a:t>Invite your patient partner to the ILPQC Annual Conference, 11/2/23</a:t>
            </a:r>
            <a:endParaRPr/>
          </a:p>
          <a:p>
            <a:pPr marL="685800" lvl="1" indent="-228600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000"/>
              <a:buChar char="•"/>
            </a:pPr>
            <a:r>
              <a:rPr lang="en-US"/>
              <a:t>ILPQC will cover the conference fee for your team's patient partner</a:t>
            </a:r>
            <a:endParaRPr/>
          </a:p>
          <a:p>
            <a:pPr marL="685800" lvl="1" indent="-228600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000"/>
              <a:buChar char="•"/>
            </a:pPr>
            <a:r>
              <a:rPr lang="en-US"/>
              <a:t>Will be a Patient / Community Breakout Session for patient partners</a:t>
            </a:r>
            <a:endParaRPr/>
          </a:p>
          <a:p>
            <a:pPr marL="685800" lvl="1" indent="-228600" algn="l" rtl="0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SzPts val="2000"/>
              <a:buChar char="•"/>
            </a:pPr>
            <a:r>
              <a:rPr lang="en-US"/>
              <a:t>All patient partners at Annual Conference will be recognized</a:t>
            </a:r>
            <a:endParaRPr/>
          </a:p>
        </p:txBody>
      </p:sp>
      <p:sp>
        <p:nvSpPr>
          <p:cNvPr id="11394" name="Google Shape;11394;p3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525117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11395" name="Google Shape;11395;p30"/>
          <p:cNvSpPr txBox="1">
            <a:spLocks noGrp="1"/>
          </p:cNvSpPr>
          <p:nvPr>
            <p:ph type="sldNum" idx="12"/>
          </p:nvPr>
        </p:nvSpPr>
        <p:spPr>
          <a:xfrm>
            <a:off x="9541564" y="6356350"/>
            <a:ext cx="181223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44</a:t>
            </a:fld>
            <a:endParaRPr/>
          </a:p>
        </p:txBody>
      </p:sp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3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00" name="Google Shape;11400;p31"/>
          <p:cNvSpPr txBox="1">
            <a:spLocks noGrp="1"/>
          </p:cNvSpPr>
          <p:nvPr>
            <p:ph type="title"/>
          </p:nvPr>
        </p:nvSpPr>
        <p:spPr>
          <a:xfrm>
            <a:off x="1413310" y="1022009"/>
            <a:ext cx="10270945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Birth Equity QI Summer Series Recap!</a:t>
            </a:r>
            <a:endParaRPr/>
          </a:p>
        </p:txBody>
      </p:sp>
      <p:sp>
        <p:nvSpPr>
          <p:cNvPr id="11401" name="Google Shape;11401;p3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7675728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</a:pPr>
            <a:endParaRPr sz="2600" b="1"/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1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06" name="Google Shape;11406;p3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07" name="Google Shape;11407;p32"/>
          <p:cNvSpPr/>
          <p:nvPr/>
        </p:nvSpPr>
        <p:spPr>
          <a:xfrm rot="-54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0">
                <a:schemeClr val="accent1"/>
              </a:gs>
              <a:gs pos="8000">
                <a:schemeClr val="accent1"/>
              </a:gs>
              <a:gs pos="100000">
                <a:srgbClr val="0D2445"/>
              </a:gs>
            </a:gsLst>
            <a:lin ang="12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08" name="Google Shape;11408;p32"/>
          <p:cNvSpPr/>
          <p:nvPr/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0">
                <a:srgbClr val="000000">
                  <a:alpha val="51764"/>
                </a:srgbClr>
              </a:gs>
              <a:gs pos="8000">
                <a:srgbClr val="000000">
                  <a:alpha val="51764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09" name="Google Shape;11409;p32"/>
          <p:cNvSpPr/>
          <p:nvPr/>
        </p:nvSpPr>
        <p:spPr>
          <a:xfrm rot="-54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rgbClr val="A4BEFE">
                  <a:alpha val="0"/>
                </a:srgbClr>
              </a:gs>
              <a:gs pos="100000">
                <a:srgbClr val="000000">
                  <a:alpha val="45882"/>
                </a:srgbClr>
              </a:gs>
            </a:gsLst>
            <a:lin ang="12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10" name="Google Shape;11410;p32"/>
          <p:cNvSpPr txBox="1">
            <a:spLocks noGrp="1"/>
          </p:cNvSpPr>
          <p:nvPr>
            <p:ph type="ftr" idx="11"/>
          </p:nvPr>
        </p:nvSpPr>
        <p:spPr>
          <a:xfrm rot="5400000">
            <a:off x="-1828800" y="2002536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pic>
        <p:nvPicPr>
          <p:cNvPr id="11411" name="Google Shape;11411;p32" descr="A picture containing qr code&#10;&#10;Description automatically generated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3">
            <a:alphaModFix/>
          </a:blip>
          <a:srcRect/>
          <a:stretch/>
        </p:blipFill>
        <p:spPr>
          <a:xfrm>
            <a:off x="2589451" y="457200"/>
            <a:ext cx="7013097" cy="5943600"/>
          </a:xfrm>
          <a:prstGeom prst="rect">
            <a:avLst/>
          </a:prstGeom>
          <a:noFill/>
          <a:ln>
            <a:noFill/>
          </a:ln>
        </p:spPr>
      </p:pic>
      <p:sp>
        <p:nvSpPr>
          <p:cNvPr id="11412" name="Google Shape;11412;p32"/>
          <p:cNvSpPr txBox="1">
            <a:spLocks noGrp="1"/>
          </p:cNvSpPr>
          <p:nvPr>
            <p:ph type="sldNum" idx="12"/>
          </p:nvPr>
        </p:nvSpPr>
        <p:spPr>
          <a:xfrm>
            <a:off x="11704320" y="6455664"/>
            <a:ext cx="448056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>
                <a:solidFill>
                  <a:srgbClr val="FFFFFF"/>
                </a:solidFill>
              </a:rPr>
              <a:t>46</a:t>
            </a:fld>
            <a:endParaRPr sz="1100">
              <a:solidFill>
                <a:srgbClr val="FFFFFF"/>
              </a:solidFill>
            </a:endParaRPr>
          </a:p>
        </p:txBody>
      </p:sp>
      <p:sp>
        <p:nvSpPr>
          <p:cNvPr id="11413" name="Google Shape;11413;p32"/>
          <p:cNvSpPr/>
          <p:nvPr/>
        </p:nvSpPr>
        <p:spPr>
          <a:xfrm>
            <a:off x="2503005" y="4412684"/>
            <a:ext cx="2541854" cy="2041270"/>
          </a:xfrm>
          <a:prstGeom prst="irregularSeal1">
            <a:avLst/>
          </a:prstGeom>
          <a:solidFill>
            <a:schemeClr val="accent1"/>
          </a:solidFill>
          <a:ln w="12700" cap="flat" cmpd="sng">
            <a:solidFill>
              <a:srgbClr val="0B1E3A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0 attendees</a:t>
            </a: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14" name="Google Shape;11414;p32"/>
          <p:cNvSpPr/>
          <p:nvPr/>
        </p:nvSpPr>
        <p:spPr>
          <a:xfrm>
            <a:off x="4822377" y="2905370"/>
            <a:ext cx="2541854" cy="2041270"/>
          </a:xfrm>
          <a:prstGeom prst="irregularSeal1">
            <a:avLst/>
          </a:prstGeom>
          <a:solidFill>
            <a:schemeClr val="accent1"/>
          </a:solidFill>
          <a:ln w="12700" cap="flat" cmpd="sng">
            <a:solidFill>
              <a:srgbClr val="0B1E3A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31 attendees</a:t>
            </a: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15" name="Google Shape;11415;p32"/>
          <p:cNvSpPr/>
          <p:nvPr/>
        </p:nvSpPr>
        <p:spPr>
          <a:xfrm>
            <a:off x="7141750" y="4412684"/>
            <a:ext cx="2541854" cy="2041270"/>
          </a:xfrm>
          <a:prstGeom prst="irregularSeal1">
            <a:avLst/>
          </a:prstGeom>
          <a:solidFill>
            <a:schemeClr val="accent1"/>
          </a:solidFill>
          <a:ln w="12700" cap="flat" cmpd="sng">
            <a:solidFill>
              <a:srgbClr val="0B1E3A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7 attendees</a:t>
            </a:r>
            <a:endParaRPr/>
          </a:p>
        </p:txBody>
      </p:sp>
      <p:sp>
        <p:nvSpPr>
          <p:cNvPr id="11416" name="Google Shape;11416;p32"/>
          <p:cNvSpPr/>
          <p:nvPr/>
        </p:nvSpPr>
        <p:spPr>
          <a:xfrm>
            <a:off x="7567872" y="558705"/>
            <a:ext cx="2030145" cy="2408364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0B1E3A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4 BE teams attended all 3 summer series calls! They will be receiving a gift to help plan a respectful care breakfast or help onboard their patient partner!</a:t>
            </a:r>
            <a:endParaRPr sz="16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>
            <a:alphaModFix/>
          </a:blip>
          <a:stretch>
            <a:fillRect/>
          </a:stretch>
        </a:blipFill>
        <a:effectLst/>
      </p:bgPr>
    </p:bg>
    <p:spTree>
      <p:nvGrpSpPr>
        <p:cNvPr id="1" name="Shape 11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21" name="Google Shape;11421;p33"/>
          <p:cNvSpPr txBox="1">
            <a:spLocks noGrp="1"/>
          </p:cNvSpPr>
          <p:nvPr>
            <p:ph type="title"/>
          </p:nvPr>
        </p:nvSpPr>
        <p:spPr>
          <a:xfrm>
            <a:off x="207035" y="365124"/>
            <a:ext cx="7766649" cy="2030053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4472C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Congrats to the following teams who attended all 3 summer series calls!</a:t>
            </a:r>
            <a:endParaRPr/>
          </a:p>
        </p:txBody>
      </p:sp>
      <p:sp>
        <p:nvSpPr>
          <p:cNvPr id="11422" name="Google Shape;11422;p33"/>
          <p:cNvSpPr txBox="1">
            <a:spLocks noGrp="1"/>
          </p:cNvSpPr>
          <p:nvPr>
            <p:ph type="body" idx="1"/>
          </p:nvPr>
        </p:nvSpPr>
        <p:spPr>
          <a:xfrm>
            <a:off x="3686354" y="2875172"/>
            <a:ext cx="4819291" cy="2568546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4472C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b="1">
                <a:solidFill>
                  <a:schemeClr val="accent1"/>
                </a:solidFill>
              </a:rPr>
              <a:t>NorthShore Evanston Hospital</a:t>
            </a:r>
            <a:endParaRPr b="1">
              <a:solidFill>
                <a:schemeClr val="accent1"/>
              </a:solidFill>
            </a:endParaRPr>
          </a:p>
          <a:p>
            <a:pPr marL="0" lvl="0" indent="0" algn="ctr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SzPts val="2400"/>
              <a:buNone/>
            </a:pPr>
            <a:r>
              <a:rPr lang="en-US" b="1">
                <a:solidFill>
                  <a:schemeClr val="accent1"/>
                </a:solidFill>
              </a:rPr>
              <a:t>Northwest Community Hospital</a:t>
            </a:r>
            <a:endParaRPr b="1">
              <a:solidFill>
                <a:schemeClr val="accent1"/>
              </a:solidFill>
            </a:endParaRPr>
          </a:p>
          <a:p>
            <a:pPr marL="0" lvl="0" indent="0" algn="ctr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SzPts val="2400"/>
              <a:buNone/>
            </a:pPr>
            <a:r>
              <a:rPr lang="en-US" b="1">
                <a:solidFill>
                  <a:schemeClr val="accent1"/>
                </a:solidFill>
              </a:rPr>
              <a:t>NM Lake Forest Hospital</a:t>
            </a:r>
            <a:endParaRPr b="1">
              <a:solidFill>
                <a:schemeClr val="accent1"/>
              </a:solidFill>
            </a:endParaRPr>
          </a:p>
          <a:p>
            <a:pPr marL="0" lvl="0" indent="0" algn="ctr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SzPts val="2400"/>
              <a:buNone/>
            </a:pPr>
            <a:r>
              <a:rPr lang="en-US" b="1">
                <a:solidFill>
                  <a:schemeClr val="accent1"/>
                </a:solidFill>
              </a:rPr>
              <a:t>NM Kishwaukee Hospital</a:t>
            </a:r>
            <a:endParaRPr/>
          </a:p>
          <a:p>
            <a:pPr marL="228600" lvl="0" indent="-762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  <p:sp>
        <p:nvSpPr>
          <p:cNvPr id="11423" name="Google Shape;11423;p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47</a:t>
            </a:fld>
            <a:endParaRPr/>
          </a:p>
        </p:txBody>
      </p:sp>
      <p:sp>
        <p:nvSpPr>
          <p:cNvPr id="11424" name="Google Shape;11424;p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4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43" name="Google Shape;11443;p36"/>
          <p:cNvSpPr txBox="1">
            <a:spLocks noGrp="1"/>
          </p:cNvSpPr>
          <p:nvPr>
            <p:ph type="title"/>
          </p:nvPr>
        </p:nvSpPr>
        <p:spPr>
          <a:xfrm>
            <a:off x="1413310" y="1022009"/>
            <a:ext cx="10270945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Additional Resources / Announcements</a:t>
            </a:r>
            <a:endParaRPr/>
          </a:p>
        </p:txBody>
      </p:sp>
      <p:sp>
        <p:nvSpPr>
          <p:cNvPr id="11444" name="Google Shape;11444;p3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7675728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</a:pPr>
            <a:endParaRPr sz="2600" b="1"/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14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49" name="Google Shape;11449;p37"/>
          <p:cNvSpPr/>
          <p:nvPr/>
        </p:nvSpPr>
        <p:spPr>
          <a:xfrm>
            <a:off x="0" y="-11256"/>
            <a:ext cx="12192000" cy="6869256"/>
          </a:xfrm>
          <a:prstGeom prst="rect">
            <a:avLst/>
          </a:prstGeom>
          <a:solidFill>
            <a:srgbClr val="D8D8D8">
              <a:alpha val="6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50" name="Google Shape;11450;p37"/>
          <p:cNvSpPr/>
          <p:nvPr/>
        </p:nvSpPr>
        <p:spPr>
          <a:xfrm>
            <a:off x="335280" y="1345102"/>
            <a:ext cx="11257280" cy="5512898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 cap="flat" cmpd="sng">
            <a:solidFill>
              <a:srgbClr val="C8CACA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7150" dist="19050" dir="5400000" algn="t" rotWithShape="0">
              <a:srgbClr val="000000">
                <a:alpha val="62745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451" name="Google Shape;11451;p37" descr="A person sitting at a table with a doctor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57288" y="2262188"/>
            <a:ext cx="2582863" cy="3490913"/>
          </a:xfrm>
          <a:prstGeom prst="rect">
            <a:avLst/>
          </a:prstGeom>
          <a:noFill/>
          <a:ln>
            <a:noFill/>
          </a:ln>
        </p:spPr>
      </p:pic>
      <p:pic>
        <p:nvPicPr>
          <p:cNvPr id="11452" name="Google Shape;11452;p37" descr="A poster of a doctor and a person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806825" y="2262188"/>
            <a:ext cx="2570163" cy="3490913"/>
          </a:xfrm>
          <a:prstGeom prst="rect">
            <a:avLst/>
          </a:prstGeom>
          <a:noFill/>
          <a:ln>
            <a:noFill/>
          </a:ln>
        </p:spPr>
      </p:pic>
      <p:pic>
        <p:nvPicPr>
          <p:cNvPr id="11453" name="Google Shape;11453;p37" descr="A poster of a medical procedure&#10;&#10;Description automatically generated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445250" y="2262188"/>
            <a:ext cx="1914525" cy="3490913"/>
          </a:xfrm>
          <a:prstGeom prst="rect">
            <a:avLst/>
          </a:prstGeom>
          <a:noFill/>
          <a:ln>
            <a:noFill/>
          </a:ln>
        </p:spPr>
      </p:pic>
      <p:pic>
        <p:nvPicPr>
          <p:cNvPr id="11454" name="Google Shape;11454;p37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428038" y="2262188"/>
            <a:ext cx="2603500" cy="3490913"/>
          </a:xfrm>
          <a:prstGeom prst="rect">
            <a:avLst/>
          </a:prstGeom>
          <a:noFill/>
          <a:ln>
            <a:noFill/>
          </a:ln>
        </p:spPr>
      </p:pic>
      <p:sp>
        <p:nvSpPr>
          <p:cNvPr id="11455" name="Google Shape;11455;p37"/>
          <p:cNvSpPr txBox="1">
            <a:spLocks noGrp="1"/>
          </p:cNvSpPr>
          <p:nvPr>
            <p:ph type="title"/>
          </p:nvPr>
        </p:nvSpPr>
        <p:spPr>
          <a:xfrm>
            <a:off x="335280" y="-5906"/>
            <a:ext cx="8882320" cy="13510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</a:pPr>
            <a:r>
              <a:rPr lang="en-US" sz="4400" dirty="0">
                <a:solidFill>
                  <a:schemeClr val="dk1"/>
                </a:solidFill>
              </a:rPr>
              <a:t>NEW</a:t>
            </a:r>
            <a:r>
              <a:rPr lang="en-US" sz="4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I PROMOTE-IL Postpartum Patient Safety Flyers</a:t>
            </a:r>
            <a:endParaRPr dirty="0"/>
          </a:p>
        </p:txBody>
      </p:sp>
      <p:sp>
        <p:nvSpPr>
          <p:cNvPr id="11456" name="Google Shape;11456;p3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>
                <a:solidFill>
                  <a:srgbClr val="919497"/>
                </a:solidFill>
              </a:rPr>
              <a:t>49</a:t>
            </a:fld>
            <a:endParaRPr>
              <a:solidFill>
                <a:srgbClr val="919497"/>
              </a:solidFill>
            </a:endParaRPr>
          </a:p>
        </p:txBody>
      </p:sp>
      <p:sp>
        <p:nvSpPr>
          <p:cNvPr id="11457" name="Google Shape;11457;p3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1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6" name="Google Shape;11056;p5"/>
          <p:cNvSpPr/>
          <p:nvPr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57" name="Google Shape;11057;p5"/>
          <p:cNvSpPr txBox="1">
            <a:spLocks noGrp="1"/>
          </p:cNvSpPr>
          <p:nvPr>
            <p:ph type="title"/>
          </p:nvPr>
        </p:nvSpPr>
        <p:spPr>
          <a:xfrm>
            <a:off x="455228" y="65729"/>
            <a:ext cx="3584054" cy="55831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5400"/>
              <a:buFont typeface="Calibri"/>
              <a:buNone/>
            </a:pPr>
            <a:r>
              <a:rPr lang="en-US" sz="5400"/>
              <a:t>Upcoming Annual Conference Prep</a:t>
            </a:r>
            <a:endParaRPr sz="5400"/>
          </a:p>
        </p:txBody>
      </p:sp>
      <p:sp>
        <p:nvSpPr>
          <p:cNvPr id="11058" name="Google Shape;11058;p5"/>
          <p:cNvSpPr/>
          <p:nvPr/>
        </p:nvSpPr>
        <p:spPr>
          <a:xfrm rot="5400000">
            <a:off x="1627450" y="3462719"/>
            <a:ext cx="5410200" cy="18288"/>
          </a:xfrm>
          <a:custGeom>
            <a:avLst/>
            <a:gdLst/>
            <a:ahLst/>
            <a:cxnLst/>
            <a:rect l="l" t="t" r="r" b="b"/>
            <a:pathLst>
              <a:path w="5410200" h="18288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10730" y="6954"/>
                  <a:pt x="5410934" y="12839"/>
                  <a:pt x="5410200" y="18288"/>
                </a:cubicBezTo>
                <a:cubicBezTo>
                  <a:pt x="5139060" y="6751"/>
                  <a:pt x="5121593" y="31035"/>
                  <a:pt x="4842129" y="18288"/>
                </a:cubicBezTo>
                <a:cubicBezTo>
                  <a:pt x="4562665" y="5541"/>
                  <a:pt x="4448273" y="9487"/>
                  <a:pt x="4328160" y="18288"/>
                </a:cubicBezTo>
                <a:cubicBezTo>
                  <a:pt x="4208047" y="27089"/>
                  <a:pt x="3760936" y="22567"/>
                  <a:pt x="3597783" y="18288"/>
                </a:cubicBezTo>
                <a:cubicBezTo>
                  <a:pt x="3434630" y="14009"/>
                  <a:pt x="3299718" y="33213"/>
                  <a:pt x="3029712" y="18288"/>
                </a:cubicBezTo>
                <a:cubicBezTo>
                  <a:pt x="2759706" y="3363"/>
                  <a:pt x="2640159" y="27394"/>
                  <a:pt x="2299335" y="18288"/>
                </a:cubicBezTo>
                <a:cubicBezTo>
                  <a:pt x="1958511" y="9182"/>
                  <a:pt x="1801186" y="28985"/>
                  <a:pt x="1514856" y="18288"/>
                </a:cubicBezTo>
                <a:cubicBezTo>
                  <a:pt x="1228526" y="7591"/>
                  <a:pt x="1063509" y="-5305"/>
                  <a:pt x="892683" y="18288"/>
                </a:cubicBezTo>
                <a:cubicBezTo>
                  <a:pt x="721857" y="41881"/>
                  <a:pt x="186945" y="-20897"/>
                  <a:pt x="0" y="18288"/>
                </a:cubicBezTo>
                <a:cubicBezTo>
                  <a:pt x="-570" y="9279"/>
                  <a:pt x="132" y="5100"/>
                  <a:pt x="0" y="0"/>
                </a:cubicBezTo>
                <a:close/>
              </a:path>
              <a:path w="5410200" h="18288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09517" y="5414"/>
                  <a:pt x="5409480" y="12510"/>
                  <a:pt x="5410200" y="18288"/>
                </a:cubicBezTo>
                <a:cubicBezTo>
                  <a:pt x="5163327" y="41494"/>
                  <a:pt x="5008749" y="10693"/>
                  <a:pt x="4842129" y="18288"/>
                </a:cubicBezTo>
                <a:cubicBezTo>
                  <a:pt x="4675509" y="25883"/>
                  <a:pt x="4433401" y="-615"/>
                  <a:pt x="4165854" y="18288"/>
                </a:cubicBezTo>
                <a:cubicBezTo>
                  <a:pt x="3898308" y="37191"/>
                  <a:pt x="3809032" y="-8710"/>
                  <a:pt x="3543681" y="18288"/>
                </a:cubicBezTo>
                <a:cubicBezTo>
                  <a:pt x="3278330" y="45286"/>
                  <a:pt x="3073876" y="-15917"/>
                  <a:pt x="2759202" y="18288"/>
                </a:cubicBezTo>
                <a:cubicBezTo>
                  <a:pt x="2444528" y="52493"/>
                  <a:pt x="2204144" y="3372"/>
                  <a:pt x="1974723" y="18288"/>
                </a:cubicBezTo>
                <a:cubicBezTo>
                  <a:pt x="1745302" y="33204"/>
                  <a:pt x="1602335" y="31490"/>
                  <a:pt x="1406652" y="18288"/>
                </a:cubicBezTo>
                <a:cubicBezTo>
                  <a:pt x="1210969" y="5086"/>
                  <a:pt x="923948" y="3161"/>
                  <a:pt x="730377" y="18288"/>
                </a:cubicBezTo>
                <a:cubicBezTo>
                  <a:pt x="536806" y="33415"/>
                  <a:pt x="336496" y="-141"/>
                  <a:pt x="0" y="18288"/>
                </a:cubicBezTo>
                <a:cubicBezTo>
                  <a:pt x="-306" y="11061"/>
                  <a:pt x="-655" y="7751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59" name="Google Shape;11059;p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11060" name="Google Shape;11060;p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5</a:t>
            </a:fld>
            <a:endParaRPr/>
          </a:p>
        </p:txBody>
      </p:sp>
      <p:grpSp>
        <p:nvGrpSpPr>
          <p:cNvPr id="11061" name="Google Shape;11061;p5"/>
          <p:cNvGrpSpPr/>
          <p:nvPr/>
        </p:nvGrpSpPr>
        <p:grpSpPr>
          <a:xfrm>
            <a:off x="4705527" y="619341"/>
            <a:ext cx="7101795" cy="5924160"/>
            <a:chOff x="0" y="64782"/>
            <a:chExt cx="7101795" cy="5924160"/>
          </a:xfrm>
        </p:grpSpPr>
        <p:sp>
          <p:nvSpPr>
            <p:cNvPr id="11062" name="Google Shape;11062;p5"/>
            <p:cNvSpPr/>
            <p:nvPr/>
          </p:nvSpPr>
          <p:spPr>
            <a:xfrm>
              <a:off x="0" y="389502"/>
              <a:ext cx="7101795" cy="1247400"/>
            </a:xfrm>
            <a:prstGeom prst="rect">
              <a:avLst/>
            </a:prstGeom>
            <a:solidFill>
              <a:schemeClr val="lt1">
                <a:alpha val="89803"/>
              </a:schemeClr>
            </a:solidFill>
            <a:ln w="12700" cap="flat" cmpd="sng">
              <a:solidFill>
                <a:srgbClr val="F5658F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3" name="Google Shape;11063;p5"/>
            <p:cNvSpPr txBox="1"/>
            <p:nvPr/>
          </p:nvSpPr>
          <p:spPr>
            <a:xfrm>
              <a:off x="0" y="271362"/>
              <a:ext cx="7101795" cy="1247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51175" tIns="458200" rIns="551175" bIns="156450" anchor="t" anchorCtr="0">
              <a:noAutofit/>
            </a:bodyPr>
            <a:lstStyle/>
            <a:p>
              <a:pPr marL="228600" marR="0" lvl="1" indent="-22860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200"/>
                <a:buFont typeface="Calibri"/>
                <a:buChar char="•"/>
              </a:pPr>
              <a:r>
                <a:rPr lang="en-US" sz="2200" b="0" i="0" u="none" strike="noStrike" cap="none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All data baseline-August 2023 will be </a:t>
              </a:r>
              <a:r>
                <a:rPr lang="en-US" sz="2200" b="1" i="0" u="none" strike="noStrike" cap="none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due on September 22nd, 2023,</a:t>
              </a:r>
              <a:r>
                <a:rPr lang="en-US" sz="2200" b="0" i="0" u="none" strike="noStrike" cap="none" dirty="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 for award consideration.</a:t>
              </a:r>
              <a:endParaRPr lang="en-US" sz="22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11064" name="Google Shape;11064;p5"/>
            <p:cNvSpPr/>
            <p:nvPr/>
          </p:nvSpPr>
          <p:spPr>
            <a:xfrm>
              <a:off x="355089" y="64782"/>
              <a:ext cx="4971256" cy="649440"/>
            </a:xfrm>
            <a:prstGeom prst="roundRect">
              <a:avLst>
                <a:gd name="adj" fmla="val 16667"/>
              </a:avLst>
            </a:prstGeom>
            <a:solidFill>
              <a:srgbClr val="F5658F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5" name="Google Shape;11065;p5"/>
            <p:cNvSpPr txBox="1"/>
            <p:nvPr/>
          </p:nvSpPr>
          <p:spPr>
            <a:xfrm>
              <a:off x="386792" y="96485"/>
              <a:ext cx="4907850" cy="586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7900" tIns="0" rIns="18790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2200"/>
                <a:buFont typeface="Calibri"/>
                <a:buNone/>
              </a:pPr>
              <a:r>
                <a:rPr lang="en-US" sz="22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 </a:t>
              </a:r>
              <a:r>
                <a:rPr lang="en-US" sz="2200" b="1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Submit your Data!</a:t>
              </a:r>
              <a:r>
                <a:rPr lang="en-US" sz="2200" b="1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 </a:t>
              </a:r>
              <a:endParaRPr sz="22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66" name="Google Shape;11066;p5"/>
            <p:cNvSpPr/>
            <p:nvPr/>
          </p:nvSpPr>
          <p:spPr>
            <a:xfrm>
              <a:off x="0" y="2080422"/>
              <a:ext cx="7101795" cy="1559250"/>
            </a:xfrm>
            <a:prstGeom prst="rect">
              <a:avLst/>
            </a:prstGeom>
            <a:solidFill>
              <a:schemeClr val="lt1">
                <a:alpha val="89803"/>
              </a:schemeClr>
            </a:solidFill>
            <a:ln w="12700" cap="flat" cmpd="sng">
              <a:solidFill>
                <a:srgbClr val="65F5EE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7" name="Google Shape;11067;p5"/>
            <p:cNvSpPr txBox="1"/>
            <p:nvPr/>
          </p:nvSpPr>
          <p:spPr>
            <a:xfrm>
              <a:off x="0" y="2080422"/>
              <a:ext cx="7101795" cy="15592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51175" tIns="458200" rIns="551175" bIns="156450" anchor="t" anchorCtr="0">
              <a:noAutofit/>
            </a:bodyPr>
            <a:lstStyle/>
            <a:p>
              <a:pPr marL="228600" marR="0" lvl="1" indent="-22860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200"/>
                <a:buFont typeface="Calibri"/>
                <a:buChar char="•"/>
              </a:pPr>
              <a:r>
                <a:rPr lang="en-US" sz="22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 </a:t>
              </a:r>
              <a:r>
                <a:rPr lang="en-US" sz="22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Info coming soon!</a:t>
              </a:r>
              <a:r>
                <a:rPr lang="en-US" sz="22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 All hospital teams are asked to submit an abstract on QI work (can be in progress).</a:t>
              </a:r>
              <a:endParaRPr sz="2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68" name="Google Shape;11068;p5"/>
            <p:cNvSpPr/>
            <p:nvPr/>
          </p:nvSpPr>
          <p:spPr>
            <a:xfrm>
              <a:off x="355089" y="1755702"/>
              <a:ext cx="4971256" cy="649440"/>
            </a:xfrm>
            <a:prstGeom prst="roundRect">
              <a:avLst>
                <a:gd name="adj" fmla="val 16667"/>
              </a:avLst>
            </a:prstGeom>
            <a:solidFill>
              <a:srgbClr val="65F5EE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9" name="Google Shape;11069;p5"/>
            <p:cNvSpPr txBox="1"/>
            <p:nvPr/>
          </p:nvSpPr>
          <p:spPr>
            <a:xfrm>
              <a:off x="386792" y="1787405"/>
              <a:ext cx="4907850" cy="586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7900" tIns="0" rIns="18790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2200"/>
                <a:buFont typeface="Calibri"/>
                <a:buNone/>
              </a:pPr>
              <a:r>
                <a:rPr lang="en-US" sz="2200" b="1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Call for Abstracts! </a:t>
              </a:r>
              <a:endParaRPr sz="22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70" name="Google Shape;11070;p5"/>
            <p:cNvSpPr/>
            <p:nvPr/>
          </p:nvSpPr>
          <p:spPr>
            <a:xfrm>
              <a:off x="0" y="4083192"/>
              <a:ext cx="7101795" cy="1905750"/>
            </a:xfrm>
            <a:prstGeom prst="rect">
              <a:avLst/>
            </a:prstGeom>
            <a:solidFill>
              <a:schemeClr val="lt1">
                <a:alpha val="89803"/>
              </a:schemeClr>
            </a:solidFill>
            <a:ln w="12700" cap="flat" cmpd="sng">
              <a:solidFill>
                <a:srgbClr val="F5836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1" name="Google Shape;11071;p5"/>
            <p:cNvSpPr txBox="1"/>
            <p:nvPr/>
          </p:nvSpPr>
          <p:spPr>
            <a:xfrm>
              <a:off x="0" y="3959145"/>
              <a:ext cx="7101795" cy="190575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551175" tIns="458200" rIns="551175" bIns="156450" anchor="t" anchorCtr="0">
              <a:noAutofit/>
            </a:bodyPr>
            <a:lstStyle/>
            <a:p>
              <a:pPr marL="228600" marR="0" lvl="1" indent="-22860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200"/>
                <a:buFont typeface="Calibri"/>
                <a:buChar char="•"/>
              </a:pPr>
              <a:r>
                <a:rPr lang="en-US" sz="22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We want to hear from you! </a:t>
              </a:r>
              <a:r>
                <a:rPr lang="en-US" sz="2200" b="1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Survey opening soon! </a:t>
              </a:r>
              <a:endParaRPr sz="22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228600" marR="0" lvl="1" indent="-228600" algn="l" rtl="0">
                <a:lnSpc>
                  <a:spcPct val="90000"/>
                </a:lnSpc>
                <a:spcBef>
                  <a:spcPts val="330"/>
                </a:spcBef>
                <a:spcAft>
                  <a:spcPts val="0"/>
                </a:spcAft>
                <a:buClr>
                  <a:schemeClr val="dk1"/>
                </a:buClr>
                <a:buSzPts val="2200"/>
                <a:buFont typeface="Calibri"/>
                <a:buChar char="•"/>
              </a:pPr>
              <a:r>
                <a:rPr lang="en-US" sz="22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This is a great opportunity to share your teams' thoughts &amp; insights reflecting on 2023 and planning for 2024!</a:t>
              </a:r>
              <a:endParaRPr/>
            </a:p>
          </p:txBody>
        </p:sp>
        <p:sp>
          <p:nvSpPr>
            <p:cNvPr id="11072" name="Google Shape;11072;p5"/>
            <p:cNvSpPr/>
            <p:nvPr/>
          </p:nvSpPr>
          <p:spPr>
            <a:xfrm>
              <a:off x="355089" y="3758472"/>
              <a:ext cx="4971256" cy="649440"/>
            </a:xfrm>
            <a:prstGeom prst="roundRect">
              <a:avLst>
                <a:gd name="adj" fmla="val 16667"/>
              </a:avLst>
            </a:prstGeom>
            <a:solidFill>
              <a:srgbClr val="F58365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3" name="Google Shape;11073;p5"/>
            <p:cNvSpPr txBox="1"/>
            <p:nvPr/>
          </p:nvSpPr>
          <p:spPr>
            <a:xfrm>
              <a:off x="386792" y="3790175"/>
              <a:ext cx="4907850" cy="586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87900" tIns="0" rIns="187900" bIns="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2200"/>
                <a:buFont typeface="Calibri"/>
                <a:buNone/>
              </a:pPr>
              <a:r>
                <a:rPr lang="en-US" sz="2200" b="1" u="none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ILPQC Annual Conference </a:t>
              </a:r>
              <a:r>
                <a:rPr lang="en-US" sz="2200" b="1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Survey! </a:t>
              </a:r>
              <a:endParaRPr/>
            </a:p>
          </p:txBody>
        </p:sp>
      </p:grpSp>
      <p:sp>
        <p:nvSpPr>
          <p:cNvPr id="11074" name="Google Shape;11074;p5"/>
          <p:cNvSpPr/>
          <p:nvPr/>
        </p:nvSpPr>
        <p:spPr>
          <a:xfrm>
            <a:off x="255288" y="4767980"/>
            <a:ext cx="3925017" cy="1653396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12700" cap="flat" cmpd="sng">
            <a:solidFill>
              <a:schemeClr val="accent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ata, Abstracts, &amp; AC Survey due: </a:t>
            </a:r>
            <a:endParaRPr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riday September 22nd, 2023</a:t>
            </a:r>
            <a:endParaRPr/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1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2" name="Google Shape;11462;p38"/>
          <p:cNvSpPr/>
          <p:nvPr/>
        </p:nvSpPr>
        <p:spPr>
          <a:xfrm rot="-5400000">
            <a:off x="800100" y="1491343"/>
            <a:ext cx="3333749" cy="3499103"/>
          </a:xfrm>
          <a:prstGeom prst="downArrow">
            <a:avLst>
              <a:gd name="adj1" fmla="val 100000"/>
              <a:gd name="adj2" fmla="val 15788"/>
            </a:avLst>
          </a:prstGeom>
          <a:solidFill>
            <a:srgbClr val="40404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63" name="Google Shape;11463;p38"/>
          <p:cNvSpPr txBox="1">
            <a:spLocks noGrp="1"/>
          </p:cNvSpPr>
          <p:nvPr>
            <p:ph type="title"/>
          </p:nvPr>
        </p:nvSpPr>
        <p:spPr>
          <a:xfrm>
            <a:off x="1028700" y="1967266"/>
            <a:ext cx="2628900" cy="25472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Calibri"/>
              <a:buNone/>
            </a:pPr>
            <a:r>
              <a:rPr lang="en-US" sz="33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I PROMOTE-IL Maternal Health Digital Library</a:t>
            </a:r>
            <a:r>
              <a:rPr lang="en-US" sz="3300">
                <a:solidFill>
                  <a:srgbClr val="FFFFFF"/>
                </a:solidFill>
              </a:rPr>
              <a:t> &amp; </a:t>
            </a:r>
            <a:r>
              <a:rPr lang="en-US" sz="3300" u="sng">
                <a:solidFill>
                  <a:srgbClr val="FFFFFF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usiness Cards Available</a:t>
            </a:r>
            <a:endParaRPr sz="33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464" name="Google Shape;11464;p38" descr="A close-up of a book&#10;&#10;Description automatically generated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4">
            <a:alphaModFix/>
          </a:blip>
          <a:srcRect/>
          <a:stretch/>
        </p:blipFill>
        <p:spPr>
          <a:xfrm>
            <a:off x="4416195" y="1545153"/>
            <a:ext cx="7260477" cy="4700947"/>
          </a:xfrm>
          <a:prstGeom prst="rect">
            <a:avLst/>
          </a:prstGeom>
          <a:noFill/>
          <a:ln>
            <a:noFill/>
          </a:ln>
        </p:spPr>
      </p:pic>
      <p:sp>
        <p:nvSpPr>
          <p:cNvPr id="11465" name="Google Shape;11465;p38"/>
          <p:cNvSpPr txBox="1">
            <a:spLocks noGrp="1"/>
          </p:cNvSpPr>
          <p:nvPr>
            <p:ph type="ftr" idx="11"/>
          </p:nvPr>
        </p:nvSpPr>
        <p:spPr>
          <a:xfrm>
            <a:off x="1028700" y="6356350"/>
            <a:ext cx="62103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sp>
        <p:nvSpPr>
          <p:cNvPr id="11466" name="Google Shape;11466;p38"/>
          <p:cNvSpPr txBox="1">
            <a:spLocks noGrp="1"/>
          </p:cNvSpPr>
          <p:nvPr>
            <p:ph type="sldNum" idx="12"/>
          </p:nvPr>
        </p:nvSpPr>
        <p:spPr>
          <a:xfrm>
            <a:off x="11034184" y="6356350"/>
            <a:ext cx="51434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>
                <a:solidFill>
                  <a:schemeClr val="dk1"/>
                </a:solidFill>
              </a:rPr>
              <a:t>50</a:t>
            </a:fld>
            <a:endParaRPr>
              <a:solidFill>
                <a:schemeClr val="dk1"/>
              </a:solidFill>
            </a:endParaRP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4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72" name="Google Shape;11472;p39" descr="Graphical user interface, text, application&#10;&#10;Description automatically generated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3">
            <a:alphaModFix/>
          </a:blip>
          <a:srcRect/>
          <a:stretch/>
        </p:blipFill>
        <p:spPr>
          <a:xfrm>
            <a:off x="3101937" y="1876937"/>
            <a:ext cx="8727684" cy="4351338"/>
          </a:xfrm>
          <a:prstGeom prst="rect">
            <a:avLst/>
          </a:prstGeom>
          <a:noFill/>
          <a:ln>
            <a:noFill/>
          </a:ln>
        </p:spPr>
      </p:pic>
      <p:sp>
        <p:nvSpPr>
          <p:cNvPr id="11473" name="Google Shape;11473;p39"/>
          <p:cNvSpPr txBox="1">
            <a:spLocks noGrp="1"/>
          </p:cNvSpPr>
          <p:nvPr>
            <p:ph type="title"/>
          </p:nvPr>
        </p:nvSpPr>
        <p:spPr>
          <a:xfrm>
            <a:off x="200991" y="-4296"/>
            <a:ext cx="11888695" cy="159701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</a:pPr>
            <a:r>
              <a:rPr lang="en-US" sz="3200">
                <a:solidFill>
                  <a:schemeClr val="lt1"/>
                </a:solidFill>
              </a:rPr>
              <a:t>ILPQC-Sponsored – </a:t>
            </a:r>
            <a:r>
              <a:rPr lang="en-US" sz="2800">
                <a:solidFill>
                  <a:schemeClr val="lt1"/>
                </a:solidFill>
              </a:rPr>
              <a:t>FREE AWHONN Resource for your Respectful Care work: </a:t>
            </a:r>
            <a:br>
              <a:rPr lang="en-US" sz="3200"/>
            </a:br>
            <a:r>
              <a:rPr lang="en-US" sz="2800" b="0">
                <a:solidFill>
                  <a:schemeClr val="lt1"/>
                </a:solidFill>
              </a:rPr>
              <a:t>Respectful Maternity Care Guideline  (RMC-EBG) &amp; </a:t>
            </a:r>
            <a:br>
              <a:rPr lang="en-US" sz="2800" b="0">
                <a:solidFill>
                  <a:schemeClr val="lt1"/>
                </a:solidFill>
              </a:rPr>
            </a:br>
            <a:r>
              <a:rPr lang="en-US" sz="2800" b="0">
                <a:solidFill>
                  <a:schemeClr val="lt1"/>
                </a:solidFill>
              </a:rPr>
              <a:t>Implementation Toolkit (RMC-IT)</a:t>
            </a:r>
            <a:endParaRPr sz="2800">
              <a:solidFill>
                <a:schemeClr val="lt1"/>
              </a:solidFill>
            </a:endParaRPr>
          </a:p>
        </p:txBody>
      </p:sp>
      <p:sp>
        <p:nvSpPr>
          <p:cNvPr id="11474" name="Google Shape;11474;p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rPr>
              <a:t>51</a:t>
            </a:fld>
            <a:endParaRPr sz="1200" b="0" i="0" u="none" strike="noStrike" cap="none">
              <a:solidFill>
                <a:srgbClr val="AEB3B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75" name="Google Shape;11475;p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</a:pPr>
            <a:r>
              <a:rPr lang="en-US"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sp>
        <p:nvSpPr>
          <p:cNvPr id="11476" name="Google Shape;11476;p39"/>
          <p:cNvSpPr/>
          <p:nvPr/>
        </p:nvSpPr>
        <p:spPr>
          <a:xfrm>
            <a:off x="257340" y="1487680"/>
            <a:ext cx="2700166" cy="5242632"/>
          </a:xfrm>
          <a:prstGeom prst="roundRect">
            <a:avLst>
              <a:gd name="adj" fmla="val 16667"/>
            </a:avLst>
          </a:prstGeom>
          <a:solidFill>
            <a:srgbClr val="FEEF98"/>
          </a:solidFill>
          <a:ln w="12700" cap="flat" cmpd="sng">
            <a:solidFill>
              <a:srgbClr val="14356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2000"/>
              <a:buFont typeface="Calibri"/>
              <a:buNone/>
            </a:pPr>
            <a:r>
              <a:rPr lang="en-US" sz="2000" b="1" i="0" u="none" strike="noStrike" cap="none">
                <a:solidFill>
                  <a:srgbClr val="1C498B"/>
                </a:solidFill>
                <a:latin typeface="Calibri"/>
                <a:ea typeface="Calibri"/>
                <a:cs typeface="Calibri"/>
                <a:sym typeface="Calibri"/>
              </a:rPr>
              <a:t>ILPQC is providing access to </a:t>
            </a:r>
            <a:endParaRPr sz="1800" b="1" i="0" u="none" strike="noStrike" cap="none">
              <a:solidFill>
                <a:srgbClr val="1C498B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2000"/>
              <a:buFont typeface="Calibri"/>
              <a:buNone/>
            </a:pPr>
            <a:r>
              <a:rPr lang="en-US" sz="2000" b="1" i="0" u="none" strike="noStrike" cap="none">
                <a:solidFill>
                  <a:srgbClr val="1C498B"/>
                </a:solidFill>
                <a:latin typeface="Calibri"/>
                <a:ea typeface="Calibri"/>
                <a:cs typeface="Calibri"/>
                <a:sym typeface="Calibri"/>
              </a:rPr>
              <a:t>(1) AWHONN Respectful Maternity Care Framework and Evidence-Based Guideline &amp; Toolkit for each BE Team.</a:t>
            </a:r>
            <a:endParaRPr sz="1800" b="1" i="0" u="none" strike="noStrike" cap="none">
              <a:solidFill>
                <a:srgbClr val="1C498B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2000"/>
              <a:buFont typeface="Calibri"/>
              <a:buNone/>
            </a:pPr>
            <a:r>
              <a:rPr lang="en-US" sz="2000" b="1" i="0" u="none" strike="noStrike" cap="none">
                <a:solidFill>
                  <a:srgbClr val="1C498B"/>
                </a:solidFill>
                <a:latin typeface="Calibri"/>
                <a:ea typeface="Calibri"/>
                <a:cs typeface="Calibri"/>
                <a:sym typeface="Calibri"/>
              </a:rPr>
              <a:t>A $74.95 value.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Calibri"/>
              <a:buNone/>
            </a:pPr>
            <a:endParaRPr sz="2000" b="1" i="0" u="none" strike="noStrike" cap="none">
              <a:solidFill>
                <a:srgbClr val="1C498B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2000"/>
              <a:buFont typeface="Calibri"/>
              <a:buNone/>
            </a:pPr>
            <a:r>
              <a:rPr lang="en-US" sz="2000" b="1" i="0" u="none" strike="noStrike" cap="none">
                <a:solidFill>
                  <a:srgbClr val="1C498B"/>
                </a:solidFill>
                <a:latin typeface="Calibri"/>
                <a:ea typeface="Calibri"/>
                <a:cs typeface="Calibri"/>
                <a:sym typeface="Calibri"/>
              </a:rPr>
              <a:t>Team leads – check your email to learn more information!</a:t>
            </a:r>
            <a:endParaRPr/>
          </a:p>
        </p:txBody>
      </p:sp>
      <p:pic>
        <p:nvPicPr>
          <p:cNvPr id="11477" name="Google Shape;11477;p39" descr="A picture containing icon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9603658" y="1814207"/>
            <a:ext cx="2165555" cy="10664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1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82" name="Google Shape;11482;p4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83" name="Google Shape;11483;p40"/>
          <p:cNvSpPr/>
          <p:nvPr/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rgbClr val="143668"/>
              </a:gs>
            </a:gsLst>
            <a:lin ang="186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84" name="Google Shape;11484;p40"/>
          <p:cNvSpPr/>
          <p:nvPr/>
        </p:nvSpPr>
        <p:spPr>
          <a:xfrm rot="-54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rgbClr val="1C498B">
                  <a:alpha val="49803"/>
                </a:srgbClr>
              </a:gs>
              <a:gs pos="100000">
                <a:srgbClr val="0D2445">
                  <a:alpha val="0"/>
                </a:srgbClr>
              </a:gs>
            </a:gsLst>
            <a:lin ang="114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85" name="Google Shape;11485;p40"/>
          <p:cNvSpPr/>
          <p:nvPr/>
        </p:nvSpPr>
        <p:spPr>
          <a:xfrm rot="-54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8823"/>
                </a:srgbClr>
              </a:gs>
              <a:gs pos="69000">
                <a:srgbClr val="1C498B">
                  <a:alpha val="0"/>
                </a:srgbClr>
              </a:gs>
              <a:gs pos="100000">
                <a:srgbClr val="1C498B">
                  <a:alpha val="0"/>
                </a:srgbClr>
              </a:gs>
            </a:gsLst>
            <a:lin ang="132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86" name="Google Shape;11486;p40"/>
          <p:cNvSpPr/>
          <p:nvPr/>
        </p:nvSpPr>
        <p:spPr>
          <a:xfrm rot="6097846">
            <a:off x="-747355" y="1201312"/>
            <a:ext cx="4808302" cy="4088666"/>
          </a:xfrm>
          <a:custGeom>
            <a:avLst/>
            <a:gdLst/>
            <a:ahLst/>
            <a:cxnLst/>
            <a:rect l="l" t="t" r="r" b="b"/>
            <a:pathLst>
              <a:path w="4808302" h="4088666" extrusionOk="0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0">
                <a:srgbClr val="5189DD">
                  <a:alpha val="0"/>
                </a:srgbClr>
              </a:gs>
              <a:gs pos="39000">
                <a:srgbClr val="5189DD">
                  <a:alpha val="0"/>
                </a:srgbClr>
              </a:gs>
              <a:gs pos="100000">
                <a:srgbClr val="143668">
                  <a:alpha val="25882"/>
                </a:srgbClr>
              </a:gs>
            </a:gsLst>
            <a:lin ang="186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87" name="Google Shape;11487;p40"/>
          <p:cNvSpPr txBox="1">
            <a:spLocks noGrp="1"/>
          </p:cNvSpPr>
          <p:nvPr>
            <p:ph type="title"/>
          </p:nvPr>
        </p:nvSpPr>
        <p:spPr>
          <a:xfrm>
            <a:off x="246553" y="2719851"/>
            <a:ext cx="3554222" cy="36153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Calibri"/>
              <a:buNone/>
            </a:pPr>
            <a:r>
              <a:rPr lang="en-US" sz="40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Upcoming ICAAP COVID-19 Vaccination Webinar</a:t>
            </a:r>
            <a:br>
              <a:rPr lang="en-US" sz="4000">
                <a:solidFill>
                  <a:srgbClr val="FFFFFF"/>
                </a:solidFill>
              </a:rPr>
            </a:br>
            <a:br>
              <a:rPr lang="en-US" sz="4000">
                <a:solidFill>
                  <a:srgbClr val="FFFFFF"/>
                </a:solidFill>
              </a:rPr>
            </a:br>
            <a:r>
              <a:rPr lang="en-US" sz="4000">
                <a:solidFill>
                  <a:srgbClr val="FFFFFF"/>
                </a:solidFill>
              </a:rPr>
              <a:t>9.28.2023</a:t>
            </a:r>
            <a:endParaRPr/>
          </a:p>
        </p:txBody>
      </p:sp>
      <p:sp>
        <p:nvSpPr>
          <p:cNvPr id="11488" name="Google Shape;11488;p40"/>
          <p:cNvSpPr txBox="1">
            <a:spLocks noGrp="1"/>
          </p:cNvSpPr>
          <p:nvPr>
            <p:ph type="ftr" idx="11"/>
          </p:nvPr>
        </p:nvSpPr>
        <p:spPr>
          <a:xfrm rot="5400000">
            <a:off x="-1828800" y="2002536"/>
            <a:ext cx="41148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pic>
        <p:nvPicPr>
          <p:cNvPr id="11489" name="Google Shape;11489;p40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3">
            <a:alphaModFix/>
          </a:blip>
          <a:srcRect/>
          <a:stretch/>
        </p:blipFill>
        <p:spPr>
          <a:xfrm>
            <a:off x="5827318" y="467208"/>
            <a:ext cx="4575968" cy="5923584"/>
          </a:xfrm>
          <a:prstGeom prst="rect">
            <a:avLst/>
          </a:prstGeom>
          <a:noFill/>
          <a:ln>
            <a:noFill/>
          </a:ln>
        </p:spPr>
      </p:pic>
      <p:sp>
        <p:nvSpPr>
          <p:cNvPr id="11490" name="Google Shape;11490;p40"/>
          <p:cNvSpPr txBox="1">
            <a:spLocks noGrp="1"/>
          </p:cNvSpPr>
          <p:nvPr>
            <p:ph type="sldNum" idx="12"/>
          </p:nvPr>
        </p:nvSpPr>
        <p:spPr>
          <a:xfrm>
            <a:off x="11704319" y="6455664"/>
            <a:ext cx="448056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>
                <a:solidFill>
                  <a:srgbClr val="9CA5AE"/>
                </a:solidFill>
              </a:rPr>
              <a:t>52</a:t>
            </a:fld>
            <a:endParaRPr sz="1100">
              <a:solidFill>
                <a:srgbClr val="9CA5AE"/>
              </a:solidFill>
            </a:endParaRPr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95" name="Google Shape;11495;p4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Upcoming ILPQC BE calls</a:t>
            </a:r>
            <a:endParaRPr/>
          </a:p>
        </p:txBody>
      </p:sp>
      <p:sp>
        <p:nvSpPr>
          <p:cNvPr id="11496" name="Google Shape;11496;p4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02" name="Google Shape;11502;p42"/>
          <p:cNvSpPr txBox="1">
            <a:spLocks noGrp="1"/>
          </p:cNvSpPr>
          <p:nvPr>
            <p:ph type="title"/>
          </p:nvPr>
        </p:nvSpPr>
        <p:spPr>
          <a:xfrm>
            <a:off x="247581" y="172509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Upcoming BE Calls</a:t>
            </a:r>
            <a:endParaRPr/>
          </a:p>
        </p:txBody>
      </p:sp>
      <p:sp>
        <p:nvSpPr>
          <p:cNvPr id="11503" name="Google Shape;11503;p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rPr>
              <a:t>54</a:t>
            </a:fld>
            <a:endParaRPr sz="1200" b="0" i="0" u="none" strike="noStrike" cap="none">
              <a:solidFill>
                <a:srgbClr val="AEB3B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504" name="Google Shape;11504;p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</a:pPr>
            <a:r>
              <a:rPr lang="en-US"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graphicFrame>
        <p:nvGraphicFramePr>
          <p:cNvPr id="11505" name="Google Shape;11505;p42"/>
          <p:cNvGraphicFramePr/>
          <p:nvPr/>
        </p:nvGraphicFramePr>
        <p:xfrm>
          <a:off x="249186" y="1714080"/>
          <a:ext cx="9706575" cy="3591575"/>
        </p:xfrm>
        <a:graphic>
          <a:graphicData uri="http://schemas.openxmlformats.org/drawingml/2006/table">
            <a:tbl>
              <a:tblPr firstRow="1" bandRow="1">
                <a:noFill/>
                <a:tableStyleId>{FAE28FE5-ADFB-493B-96D8-CF13C96B4433}</a:tableStyleId>
              </a:tblPr>
              <a:tblGrid>
                <a:gridCol w="55304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761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442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sng" strike="noStrike" cap="none">
                          <a:solidFill>
                            <a:srgbClr val="000000"/>
                          </a:solidFill>
                        </a:rPr>
                        <a:t>Event 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sng">
                          <a:solidFill>
                            <a:srgbClr val="000000"/>
                          </a:solidFill>
                        </a:rPr>
                        <a:t>Day/Time </a:t>
                      </a:r>
                      <a:endParaRPr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49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444C55"/>
                        </a:buClr>
                        <a:buSzPts val="2400"/>
                        <a:buFont typeface="Calibri"/>
                        <a:buNone/>
                      </a:pPr>
                      <a:r>
                        <a:rPr lang="en-US" sz="2400" b="1" i="0" u="none" strike="noStrik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No BE October Webinar – see you at AC!</a:t>
                      </a:r>
                      <a:endParaRPr sz="180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400"/>
                        <a:buFont typeface="Calibri"/>
                        <a:buNone/>
                      </a:pPr>
                      <a:endParaRPr sz="2400" b="1" i="0" u="none" strike="noStrike">
                        <a:solidFill>
                          <a:schemeClr val="accent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49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ts val="2400"/>
                        <a:buFont typeface="Calibri"/>
                        <a:buNone/>
                      </a:pPr>
                      <a:r>
                        <a:rPr lang="en-US" sz="2400" b="1" i="0" u="none" strike="noStrik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ILPQC 11th Annual Conference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342900" marR="0" lvl="0" indent="-3429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ts val="2400"/>
                        <a:buFont typeface="Arial"/>
                        <a:buChar char="•"/>
                      </a:pPr>
                      <a:r>
                        <a:rPr lang="en-US" sz="2400" b="1" i="0" u="none" strike="noStrik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Thursday, November 2nd at the Westin Lombard</a:t>
                      </a:r>
                      <a:endParaRPr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49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ts val="2400"/>
                        <a:buFont typeface="Calibri"/>
                        <a:buNone/>
                      </a:pPr>
                      <a:r>
                        <a:rPr lang="en-US" sz="2400" b="1" i="0" u="none" strike="noStrik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BE November Webinar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342900" marR="0" lvl="0" indent="-34290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ts val="2400"/>
                        <a:buFont typeface="Arial"/>
                        <a:buChar char="•"/>
                      </a:pPr>
                      <a:r>
                        <a:rPr lang="en-US" sz="2400" b="1" i="0" u="none" strike="noStrike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onday, November 20th at 12pm</a:t>
                      </a:r>
                      <a:endParaRPr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11506" name="Google Shape;11506;p42" descr="Daily calendar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5910" y="2089272"/>
            <a:ext cx="2707630" cy="267631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5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12" name="Google Shape;11512;p4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900"/>
              <a:buFont typeface="Calibri"/>
              <a:buNone/>
            </a:pPr>
            <a:fld id="{00000000-1234-1234-1234-123412341234}" type="slidenum">
              <a:rPr lang="en-US"/>
              <a:t>55</a:t>
            </a:fld>
            <a:endParaRPr/>
          </a:p>
        </p:txBody>
      </p:sp>
      <p:sp>
        <p:nvSpPr>
          <p:cNvPr id="11513" name="Google Shape;11513;p43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900"/>
              <a:buFont typeface="Calibri"/>
              <a:buNone/>
            </a:pPr>
            <a:r>
              <a:rPr lang="en-US"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pic>
        <p:nvPicPr>
          <p:cNvPr id="11514" name="Google Shape;11514;p43" descr="Text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-12"/>
            <a:ext cx="6018675" cy="6282191"/>
          </a:xfrm>
          <a:prstGeom prst="rect">
            <a:avLst/>
          </a:prstGeom>
          <a:noFill/>
          <a:ln>
            <a:noFill/>
          </a:ln>
        </p:spPr>
      </p:pic>
      <p:pic>
        <p:nvPicPr>
          <p:cNvPr id="11515" name="Google Shape;11515;p4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018675" y="0"/>
            <a:ext cx="6173327" cy="628217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79" name="Google Shape;11079;p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Birth Equity Data Review</a:t>
            </a:r>
            <a:endParaRPr/>
          </a:p>
        </p:txBody>
      </p:sp>
      <p:sp>
        <p:nvSpPr>
          <p:cNvPr id="11080" name="Google Shape;11080;p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10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85" name="Google Shape;11085;p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86" name="Google Shape;11086;p7"/>
          <p:cNvSpPr txBox="1">
            <a:spLocks noGrp="1"/>
          </p:cNvSpPr>
          <p:nvPr>
            <p:ph type="title"/>
          </p:nvPr>
        </p:nvSpPr>
        <p:spPr>
          <a:xfrm>
            <a:off x="369188" y="659058"/>
            <a:ext cx="3834254" cy="17190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 fontScale="90000"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Calibri"/>
              <a:buNone/>
            </a:pPr>
            <a:r>
              <a:rPr lang="en-US" sz="5400"/>
              <a:t>Birth Equity Initiative Aim</a:t>
            </a:r>
            <a:endParaRPr sz="5400"/>
          </a:p>
        </p:txBody>
      </p:sp>
      <p:sp>
        <p:nvSpPr>
          <p:cNvPr id="11087" name="Google Shape;11087;p7"/>
          <p:cNvSpPr/>
          <p:nvPr/>
        </p:nvSpPr>
        <p:spPr>
          <a:xfrm>
            <a:off x="643278" y="2573756"/>
            <a:ext cx="3255095" cy="18288"/>
          </a:xfrm>
          <a:custGeom>
            <a:avLst/>
            <a:gdLst/>
            <a:ahLst/>
            <a:cxnLst/>
            <a:rect l="l" t="t" r="r" b="b"/>
            <a:pathLst>
              <a:path w="3255095" h="18288" fill="none" extrusionOk="0">
                <a:moveTo>
                  <a:pt x="0" y="0"/>
                </a:moveTo>
                <a:cubicBezTo>
                  <a:pt x="240201" y="-22123"/>
                  <a:pt x="462021" y="-19623"/>
                  <a:pt x="618468" y="0"/>
                </a:cubicBezTo>
                <a:cubicBezTo>
                  <a:pt x="774915" y="19623"/>
                  <a:pt x="974734" y="2035"/>
                  <a:pt x="1269487" y="0"/>
                </a:cubicBezTo>
                <a:cubicBezTo>
                  <a:pt x="1564240" y="-2035"/>
                  <a:pt x="1733579" y="10639"/>
                  <a:pt x="1953057" y="0"/>
                </a:cubicBezTo>
                <a:cubicBezTo>
                  <a:pt x="2172535" y="-10639"/>
                  <a:pt x="2453962" y="14018"/>
                  <a:pt x="2636627" y="0"/>
                </a:cubicBezTo>
                <a:cubicBezTo>
                  <a:pt x="2819292" y="-14018"/>
                  <a:pt x="3121375" y="5399"/>
                  <a:pt x="3255095" y="0"/>
                </a:cubicBezTo>
                <a:cubicBezTo>
                  <a:pt x="3254386" y="8157"/>
                  <a:pt x="3254682" y="12125"/>
                  <a:pt x="3255095" y="18288"/>
                </a:cubicBezTo>
                <a:cubicBezTo>
                  <a:pt x="3088545" y="23203"/>
                  <a:pt x="2687475" y="7419"/>
                  <a:pt x="2538974" y="18288"/>
                </a:cubicBezTo>
                <a:cubicBezTo>
                  <a:pt x="2390473" y="29157"/>
                  <a:pt x="2137381" y="-8959"/>
                  <a:pt x="1822853" y="18288"/>
                </a:cubicBezTo>
                <a:cubicBezTo>
                  <a:pt x="1508325" y="45535"/>
                  <a:pt x="1466437" y="20385"/>
                  <a:pt x="1171834" y="18288"/>
                </a:cubicBezTo>
                <a:cubicBezTo>
                  <a:pt x="877231" y="16191"/>
                  <a:pt x="561097" y="37643"/>
                  <a:pt x="0" y="18288"/>
                </a:cubicBezTo>
                <a:cubicBezTo>
                  <a:pt x="-46" y="12483"/>
                  <a:pt x="-203" y="6491"/>
                  <a:pt x="0" y="0"/>
                </a:cubicBezTo>
                <a:close/>
              </a:path>
              <a:path w="3255095" h="18288" extrusionOk="0">
                <a:moveTo>
                  <a:pt x="0" y="0"/>
                </a:moveTo>
                <a:cubicBezTo>
                  <a:pt x="291965" y="19429"/>
                  <a:pt x="363155" y="8568"/>
                  <a:pt x="618468" y="0"/>
                </a:cubicBezTo>
                <a:cubicBezTo>
                  <a:pt x="873781" y="-8568"/>
                  <a:pt x="904459" y="-19505"/>
                  <a:pt x="1171834" y="0"/>
                </a:cubicBezTo>
                <a:cubicBezTo>
                  <a:pt x="1439209" y="19505"/>
                  <a:pt x="1744369" y="9790"/>
                  <a:pt x="1887955" y="0"/>
                </a:cubicBezTo>
                <a:cubicBezTo>
                  <a:pt x="2031541" y="-9790"/>
                  <a:pt x="2346378" y="21240"/>
                  <a:pt x="2506423" y="0"/>
                </a:cubicBezTo>
                <a:cubicBezTo>
                  <a:pt x="2666468" y="-21240"/>
                  <a:pt x="2990257" y="30414"/>
                  <a:pt x="3255095" y="0"/>
                </a:cubicBezTo>
                <a:cubicBezTo>
                  <a:pt x="3254831" y="4493"/>
                  <a:pt x="3255479" y="9472"/>
                  <a:pt x="3255095" y="18288"/>
                </a:cubicBezTo>
                <a:cubicBezTo>
                  <a:pt x="3120743" y="16690"/>
                  <a:pt x="2759628" y="42462"/>
                  <a:pt x="2604076" y="18288"/>
                </a:cubicBezTo>
                <a:cubicBezTo>
                  <a:pt x="2448524" y="-5886"/>
                  <a:pt x="2184336" y="19599"/>
                  <a:pt x="1887955" y="18288"/>
                </a:cubicBezTo>
                <a:cubicBezTo>
                  <a:pt x="1591574" y="16977"/>
                  <a:pt x="1548845" y="6870"/>
                  <a:pt x="1334589" y="18288"/>
                </a:cubicBezTo>
                <a:cubicBezTo>
                  <a:pt x="1120333" y="29706"/>
                  <a:pt x="996014" y="9662"/>
                  <a:pt x="683570" y="18288"/>
                </a:cubicBezTo>
                <a:cubicBezTo>
                  <a:pt x="371126" y="26914"/>
                  <a:pt x="198687" y="16167"/>
                  <a:pt x="0" y="18288"/>
                </a:cubicBezTo>
                <a:cubicBezTo>
                  <a:pt x="843" y="9577"/>
                  <a:pt x="371" y="690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38100" cap="rnd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88" name="Google Shape;11088;p7"/>
          <p:cNvSpPr txBox="1">
            <a:spLocks noGrp="1"/>
          </p:cNvSpPr>
          <p:nvPr>
            <p:ph type="body" idx="1"/>
          </p:nvPr>
        </p:nvSpPr>
        <p:spPr>
          <a:xfrm>
            <a:off x="630936" y="2807208"/>
            <a:ext cx="3429000" cy="3410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92500"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sz="3600" b="1">
                <a:solidFill>
                  <a:schemeClr val="accent1"/>
                </a:solidFill>
              </a:rPr>
              <a:t>By December 2023, ≥ 70% of participating hospitals will have implemented all key strategies</a:t>
            </a:r>
            <a:endParaRPr/>
          </a:p>
        </p:txBody>
      </p:sp>
      <p:pic>
        <p:nvPicPr>
          <p:cNvPr id="11089" name="Google Shape;11089;p7" descr="Shape, square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209315" y="103728"/>
            <a:ext cx="7622789" cy="6147774"/>
          </a:xfrm>
          <a:prstGeom prst="rect">
            <a:avLst/>
          </a:prstGeom>
          <a:noFill/>
          <a:ln>
            <a:noFill/>
          </a:ln>
        </p:spPr>
      </p:pic>
      <p:sp>
        <p:nvSpPr>
          <p:cNvPr id="11090" name="Google Shape;11090;p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11091" name="Google Shape;11091;p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</a:pPr>
            <a:fld id="{00000000-1234-1234-1234-123412341234}" type="slidenum">
              <a:rPr lang="en-US"/>
              <a:t>7</a:t>
            </a:fld>
            <a:endParaRPr/>
          </a:p>
        </p:txBody>
      </p:sp>
      <p:pic>
        <p:nvPicPr>
          <p:cNvPr id="11092" name="Google Shape;11092;p7" descr="Clipboard Checked with solid fill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847163" y="880702"/>
            <a:ext cx="1274190" cy="1282657"/>
          </a:xfrm>
          <a:prstGeom prst="rect">
            <a:avLst/>
          </a:prstGeom>
          <a:noFill/>
          <a:ln>
            <a:noFill/>
          </a:ln>
        </p:spPr>
      </p:pic>
      <p:sp>
        <p:nvSpPr>
          <p:cNvPr id="11093" name="Google Shape;11093;p7"/>
          <p:cNvSpPr/>
          <p:nvPr/>
        </p:nvSpPr>
        <p:spPr>
          <a:xfrm>
            <a:off x="5255845" y="197827"/>
            <a:ext cx="5529384" cy="4982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 sz="36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Birth Equity Key Strategies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094" name="Google Shape;11094;p7" descr="Handshake with solid fill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295732" y="842280"/>
            <a:ext cx="1436659" cy="140751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095" name="Google Shape;11095;p7" descr="Medical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9913379" y="828369"/>
            <a:ext cx="1284537" cy="1265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096" name="Google Shape;11096;p7" descr="Group success outline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679909" y="3518551"/>
            <a:ext cx="1621877" cy="1624433"/>
          </a:xfrm>
          <a:prstGeom prst="rect">
            <a:avLst/>
          </a:prstGeom>
          <a:noFill/>
          <a:ln>
            <a:noFill/>
          </a:ln>
        </p:spPr>
      </p:pic>
      <p:pic>
        <p:nvPicPr>
          <p:cNvPr id="11097" name="Google Shape;11097;p7" descr="Cheers with solid fill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242446" y="3580351"/>
            <a:ext cx="1540139" cy="1491064"/>
          </a:xfrm>
          <a:prstGeom prst="rect">
            <a:avLst/>
          </a:prstGeom>
          <a:noFill/>
          <a:ln>
            <a:noFill/>
          </a:ln>
        </p:spPr>
      </p:pic>
      <p:pic>
        <p:nvPicPr>
          <p:cNvPr id="11098" name="Google Shape;11098;p7" descr="Chat bubble with solid fill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9654653" y="3451473"/>
            <a:ext cx="1070892" cy="10628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099" name="Google Shape;11099;p7" descr="Comment Heart with solid fill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10452329" y="3980349"/>
            <a:ext cx="1070340" cy="1036423"/>
          </a:xfrm>
          <a:prstGeom prst="rect">
            <a:avLst/>
          </a:prstGeom>
          <a:noFill/>
          <a:ln>
            <a:noFill/>
          </a:ln>
        </p:spPr>
      </p:pic>
      <p:sp>
        <p:nvSpPr>
          <p:cNvPr id="11100" name="Google Shape;11100;p7"/>
          <p:cNvSpPr txBox="1"/>
          <p:nvPr/>
        </p:nvSpPr>
        <p:spPr>
          <a:xfrm>
            <a:off x="4206631" y="2164861"/>
            <a:ext cx="2557585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</a:pPr>
            <a:r>
              <a:rPr lang="en-US" sz="18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ptimize race and ethnicity data</a:t>
            </a: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 collection and review stratified data ​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01" name="Google Shape;11101;p7"/>
          <p:cNvSpPr txBox="1"/>
          <p:nvPr/>
        </p:nvSpPr>
        <p:spPr>
          <a:xfrm>
            <a:off x="6727093" y="2145324"/>
            <a:ext cx="2586893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</a:pP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creen all patients for </a:t>
            </a:r>
            <a:r>
              <a:rPr lang="en-US" sz="18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cial determinants of health</a:t>
            </a: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 and link to needed services​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02" name="Google Shape;11102;p7"/>
          <p:cNvSpPr txBox="1"/>
          <p:nvPr/>
        </p:nvSpPr>
        <p:spPr>
          <a:xfrm>
            <a:off x="9530862" y="2018323"/>
            <a:ext cx="2059354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</a:pPr>
            <a:r>
              <a:rPr lang="en-US" sz="18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ndardize postpartum safety</a:t>
            </a: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 education and schedule early postpartum visit​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03" name="Google Shape;11103;p7"/>
          <p:cNvSpPr txBox="1"/>
          <p:nvPr/>
        </p:nvSpPr>
        <p:spPr>
          <a:xfrm>
            <a:off x="4118708" y="4929554"/>
            <a:ext cx="2743200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</a:pPr>
            <a:r>
              <a:rPr lang="en-US" sz="18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ngage patients and community members</a:t>
            </a: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 for quality improvement input ​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04" name="Google Shape;11104;p7"/>
          <p:cNvSpPr txBox="1"/>
          <p:nvPr/>
        </p:nvSpPr>
        <p:spPr>
          <a:xfrm>
            <a:off x="6795477" y="4968631"/>
            <a:ext cx="2479431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</a:pPr>
            <a:r>
              <a:rPr lang="en-US" sz="18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licit bias &amp; respectful care</a:t>
            </a: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 training for providers, nurses, other staff​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05" name="Google Shape;11105;p7"/>
          <p:cNvSpPr txBox="1"/>
          <p:nvPr/>
        </p:nvSpPr>
        <p:spPr>
          <a:xfrm>
            <a:off x="9306170" y="4929554"/>
            <a:ext cx="2479431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Calibri"/>
              <a:buNone/>
            </a:pP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hare </a:t>
            </a:r>
            <a:r>
              <a:rPr lang="en-US" sz="18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spectful care practices</a:t>
            </a: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 and </a:t>
            </a:r>
            <a:r>
              <a:rPr lang="en-US" sz="18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urvey </a:t>
            </a: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atients on their care experience​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1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10" name="Google Shape;11110;p8"/>
          <p:cNvSpPr/>
          <p:nvPr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11" name="Google Shape;11111;p8"/>
          <p:cNvSpPr/>
          <p:nvPr/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0">
                <a:srgbClr val="000000"/>
              </a:gs>
              <a:gs pos="8000">
                <a:srgbClr val="000000"/>
              </a:gs>
              <a:gs pos="100000">
                <a:srgbClr val="143668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12" name="Google Shape;11112;p8"/>
          <p:cNvSpPr/>
          <p:nvPr/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rgbClr val="1C498B">
                  <a:alpha val="45490"/>
                </a:srgbClr>
              </a:gs>
              <a:gs pos="100000">
                <a:srgbClr val="1C498B">
                  <a:alpha val="45490"/>
                </a:srgbClr>
              </a:gs>
            </a:gsLst>
            <a:lin ang="1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13" name="Google Shape;11113;p8"/>
          <p:cNvSpPr/>
          <p:nvPr/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0">
                <a:srgbClr val="1C498B">
                  <a:alpha val="28235"/>
                </a:srgbClr>
              </a:gs>
              <a:gs pos="2000">
                <a:srgbClr val="1C498B">
                  <a:alpha val="28235"/>
                </a:srgbClr>
              </a:gs>
              <a:gs pos="100000">
                <a:srgbClr val="000000">
                  <a:alpha val="29411"/>
                </a:srgbClr>
              </a:gs>
            </a:gsLst>
            <a:lin ang="7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14" name="Google Shape;11114;p8"/>
          <p:cNvSpPr/>
          <p:nvPr/>
        </p:nvSpPr>
        <p:spPr>
          <a:xfrm rot="-964587">
            <a:off x="-501737" y="969718"/>
            <a:ext cx="3900357" cy="4178958"/>
          </a:xfrm>
          <a:custGeom>
            <a:avLst/>
            <a:gdLst/>
            <a:ahLst/>
            <a:cxnLst/>
            <a:rect l="l" t="t" r="r" b="b"/>
            <a:pathLst>
              <a:path w="3900357" h="4178958" extrusionOk="0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0">
                <a:srgbClr val="000000">
                  <a:alpha val="0"/>
                </a:srgbClr>
              </a:gs>
              <a:gs pos="29000">
                <a:srgbClr val="000000">
                  <a:alpha val="0"/>
                </a:srgbClr>
              </a:gs>
              <a:gs pos="100000">
                <a:srgbClr val="1C498B">
                  <a:alpha val="42352"/>
                </a:srgbClr>
              </a:gs>
            </a:gsLst>
            <a:lin ang="1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15" name="Google Shape;11115;p8"/>
          <p:cNvSpPr/>
          <p:nvPr/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rgbClr val="5189DD">
                  <a:alpha val="10588"/>
                </a:srgbClr>
              </a:gs>
              <a:gs pos="100000">
                <a:srgbClr val="5189DD">
                  <a:alpha val="10588"/>
                </a:srgbClr>
              </a:gs>
            </a:gsLst>
            <a:lin ang="72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16" name="Google Shape;11116;p8"/>
          <p:cNvSpPr txBox="1">
            <a:spLocks noGrp="1"/>
          </p:cNvSpPr>
          <p:nvPr>
            <p:ph type="title"/>
          </p:nvPr>
        </p:nvSpPr>
        <p:spPr>
          <a:xfrm>
            <a:off x="418495" y="1898652"/>
            <a:ext cx="3529314" cy="3387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Calibri"/>
              <a:buNone/>
            </a:pPr>
            <a:r>
              <a:rPr lang="en-US" sz="4000">
                <a:solidFill>
                  <a:srgbClr val="FFFFFF"/>
                </a:solidFill>
              </a:rPr>
              <a:t>Achieving Birth Equity QI Excellence Award</a:t>
            </a:r>
            <a:br>
              <a:rPr lang="en-US" sz="4000">
                <a:solidFill>
                  <a:srgbClr val="FFFFFF"/>
                </a:solidFill>
              </a:rPr>
            </a:br>
            <a:r>
              <a:rPr lang="en-US" sz="1800" i="1">
                <a:solidFill>
                  <a:srgbClr val="FFFFFF"/>
                </a:solidFill>
              </a:rPr>
              <a:t>Will start awarding for ILPQC Annual Meeting 11/2/2023</a:t>
            </a:r>
            <a:endParaRPr sz="1800" i="1"/>
          </a:p>
        </p:txBody>
      </p:sp>
      <p:sp>
        <p:nvSpPr>
          <p:cNvPr id="11117" name="Google Shape;11117;p8"/>
          <p:cNvSpPr txBox="1">
            <a:spLocks noGrp="1"/>
          </p:cNvSpPr>
          <p:nvPr>
            <p:ph type="ftr" idx="11"/>
          </p:nvPr>
        </p:nvSpPr>
        <p:spPr>
          <a:xfrm rot="5400000">
            <a:off x="-1828800" y="2002536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Calibri"/>
              <a:buNone/>
            </a:pPr>
            <a:r>
              <a:rPr lang="en-US" sz="11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sp>
        <p:nvSpPr>
          <p:cNvPr id="11118" name="Google Shape;11118;p8"/>
          <p:cNvSpPr txBox="1"/>
          <p:nvPr/>
        </p:nvSpPr>
        <p:spPr>
          <a:xfrm>
            <a:off x="4162340" y="506612"/>
            <a:ext cx="4997630" cy="68030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</a:pPr>
            <a:r>
              <a:rPr lang="en-US" sz="24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QI Excellence Award:</a:t>
            </a:r>
            <a:endParaRPr sz="2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28600" marR="0" lvl="0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</a:pPr>
            <a:r>
              <a:rPr lang="en-US"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ll data submitted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marR="0" lvl="0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</a:pPr>
            <a:r>
              <a:rPr lang="en-US"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 of 7 key strategies In Place (Green)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marR="0" lvl="0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</a:pPr>
            <a:r>
              <a:rPr lang="en-US"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hieving ALL goals for the following outcome &amp; process measures:</a:t>
            </a: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685800" marR="0" lvl="1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</a:pPr>
            <a:r>
              <a:rPr lang="en-US"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vider, Nurse, &amp; Other Staff Bias Education ≥70%</a:t>
            </a: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685800" marR="0" lvl="1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</a:pPr>
            <a:r>
              <a:rPr lang="en-US"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DoH Delivery Admission Screening Documented ≥70%</a:t>
            </a: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685800" marR="0" lvl="1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</a:pPr>
            <a:r>
              <a:rPr lang="en-US"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DoH Screen Positive Linkage to Resources Documented ≥70%</a:t>
            </a: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685800" marR="0" lvl="1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</a:pPr>
            <a:r>
              <a:rPr lang="en-US"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EM Completion Rate at least 25% (goal ≥40%) </a:t>
            </a:r>
            <a:endParaRPr sz="1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28600" marR="0" lvl="0" indent="-508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Arial"/>
              <a:buNone/>
            </a:pPr>
            <a:endParaRPr sz="2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177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2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19" name="Google Shape;11119;p8"/>
          <p:cNvSpPr txBox="1">
            <a:spLocks noGrp="1"/>
          </p:cNvSpPr>
          <p:nvPr>
            <p:ph type="sldNum" idx="12"/>
          </p:nvPr>
        </p:nvSpPr>
        <p:spPr>
          <a:xfrm>
            <a:off x="11704320" y="6455664"/>
            <a:ext cx="448056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9CA5AE"/>
              </a:buClr>
              <a:buSzPts val="1100"/>
              <a:buFont typeface="Calibri"/>
              <a:buNone/>
            </a:pPr>
            <a:fld id="{00000000-1234-1234-1234-123412341234}" type="slidenum">
              <a:rPr lang="en-US" sz="1100">
                <a:solidFill>
                  <a:srgbClr val="9CA5AE"/>
                </a:solidFill>
              </a:rPr>
              <a:t>8</a:t>
            </a:fld>
            <a:endParaRPr sz="1100">
              <a:solidFill>
                <a:srgbClr val="9CA5AE"/>
              </a:solidFill>
            </a:endParaRPr>
          </a:p>
        </p:txBody>
      </p:sp>
      <p:grpSp>
        <p:nvGrpSpPr>
          <p:cNvPr id="11120" name="Google Shape;11120;p8"/>
          <p:cNvGrpSpPr/>
          <p:nvPr/>
        </p:nvGrpSpPr>
        <p:grpSpPr>
          <a:xfrm>
            <a:off x="9141604" y="1610574"/>
            <a:ext cx="2999430" cy="3845632"/>
            <a:chOff x="9160895" y="1436954"/>
            <a:chExt cx="2999430" cy="3845632"/>
          </a:xfrm>
        </p:grpSpPr>
        <p:pic>
          <p:nvPicPr>
            <p:cNvPr id="11121" name="Google Shape;11121;p8" descr="Diagram&#10;&#10;Description automatically generated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9160895" y="1436954"/>
              <a:ext cx="2999430" cy="384563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122" name="Google Shape;11122;p8"/>
            <p:cNvSpPr/>
            <p:nvPr/>
          </p:nvSpPr>
          <p:spPr>
            <a:xfrm>
              <a:off x="10600479" y="2884025"/>
              <a:ext cx="771645" cy="1080303"/>
            </a:xfrm>
            <a:prstGeom prst="rect">
              <a:avLst/>
            </a:prstGeom>
            <a:solidFill>
              <a:schemeClr val="lt1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lt1"/>
                </a:buClr>
                <a:buSzPts val="1800"/>
                <a:buFont typeface="Calibri"/>
                <a:buNone/>
              </a:pPr>
              <a:r>
                <a:rPr lang="en-US"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Your H</a:t>
              </a: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23" name="Google Shape;11123;p8"/>
            <p:cNvSpPr/>
            <p:nvPr/>
          </p:nvSpPr>
          <p:spPr>
            <a:xfrm rot="5400000">
              <a:off x="10272529" y="2662176"/>
              <a:ext cx="771645" cy="1080303"/>
            </a:xfrm>
            <a:prstGeom prst="rect">
              <a:avLst/>
            </a:prstGeom>
            <a:solidFill>
              <a:schemeClr val="lt1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124" name="Google Shape;11124;p8"/>
          <p:cNvSpPr txBox="1"/>
          <p:nvPr/>
        </p:nvSpPr>
        <p:spPr>
          <a:xfrm>
            <a:off x="10079619" y="3028707"/>
            <a:ext cx="1417898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</a:pPr>
            <a:r>
              <a:rPr lang="en-US" sz="16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Your Hospital's Name Here!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9" name="Google Shape;11129;p9"/>
          <p:cNvSpPr txBox="1">
            <a:spLocks noGrp="1"/>
          </p:cNvSpPr>
          <p:nvPr>
            <p:ph type="title"/>
          </p:nvPr>
        </p:nvSpPr>
        <p:spPr>
          <a:xfrm>
            <a:off x="244475" y="53731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 b="0"/>
              <a:t>ILPQC Hospital Team Data Submission </a:t>
            </a:r>
            <a:endParaRPr/>
          </a:p>
        </p:txBody>
      </p:sp>
      <p:sp>
        <p:nvSpPr>
          <p:cNvPr id="11130" name="Google Shape;11130;p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  <p:sp>
        <p:nvSpPr>
          <p:cNvPr id="11131" name="Google Shape;11131;p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graphicFrame>
        <p:nvGraphicFramePr>
          <p:cNvPr id="11132" name="Google Shape;11132;p9"/>
          <p:cNvGraphicFramePr/>
          <p:nvPr/>
        </p:nvGraphicFramePr>
        <p:xfrm>
          <a:off x="221358" y="1204924"/>
          <a:ext cx="11754900" cy="5486480"/>
        </p:xfrm>
        <a:graphic>
          <a:graphicData uri="http://schemas.openxmlformats.org/drawingml/2006/table">
            <a:tbl>
              <a:tblPr firstRow="1" bandRow="1">
                <a:noFill/>
                <a:tableStyleId>{2A2AACC4-BC5C-41ED-89DF-36E88FAF409F}</a:tableStyleId>
              </a:tblPr>
              <a:tblGrid>
                <a:gridCol w="57748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727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072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Structure Measures​</a:t>
                      </a:r>
                      <a:endParaRPr sz="1800" b="1" u="none" strike="noStrike" cap="none">
                        <a:solidFill>
                          <a:srgbClr val="FFFFFF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Baseline </a:t>
                      </a:r>
                      <a:endParaRPr sz="1800" b="1" u="none" strike="noStrike" cap="none">
                        <a:solidFill>
                          <a:srgbClr val="FFFFFF"/>
                        </a:solidFill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400"/>
                        <a:buFont typeface="Calibri"/>
                        <a:buNone/>
                      </a:pPr>
                      <a:r>
                        <a:rPr lang="en-US" sz="2400" u="none" strike="noStrike" cap="none"/>
                        <a:t>(% In Place)​</a:t>
                      </a:r>
                      <a:endParaRPr sz="1800" b="1" u="none" strike="noStrike" cap="none">
                        <a:solidFill>
                          <a:srgbClr val="FFFFFF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 July 2023</a:t>
                      </a:r>
                      <a:endParaRPr sz="1800" u="none" strike="noStrike" cap="none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(% In Place)​</a:t>
                      </a:r>
                      <a:endParaRPr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SDOH Screening (L&amp;D)​</a:t>
                      </a:r>
                      <a:endParaRPr sz="18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17%​</a:t>
                      </a:r>
                      <a:endParaRPr sz="18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93%​</a:t>
                      </a:r>
                      <a:endParaRPr sz="18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Optimize Accurate Self-Reported ​</a:t>
                      </a:r>
                      <a:endParaRPr sz="1800" u="none" strike="noStrike" cap="none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Race and Ethnicity Data Collection​</a:t>
                      </a:r>
                      <a:endParaRPr sz="18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7%​</a:t>
                      </a:r>
                      <a:endParaRPr sz="18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90%​</a:t>
                      </a:r>
                      <a:endParaRPr sz="1800" u="none" strike="noStrike" cap="none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400"/>
                        <a:buFont typeface="Calibri"/>
                        <a:buNone/>
                      </a:pPr>
                      <a:r>
                        <a:rPr lang="en-US" sz="2400" u="none" strike="noStrike" cap="none"/>
                        <a:t>Review Maternal QI Data Stratified by Race, Ethnicity &amp; Insurance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400"/>
                        <a:buFont typeface="Calibri"/>
                        <a:buNone/>
                      </a:pPr>
                      <a:r>
                        <a:rPr lang="en-US" sz="2400" u="none" strike="noStrike" cap="none"/>
                        <a:t>6%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2400"/>
                        <a:buFont typeface="Calibri"/>
                        <a:buNone/>
                      </a:pPr>
                      <a:r>
                        <a:rPr lang="en-US" sz="2400" u="none" strike="noStrike" cap="none"/>
                        <a:t>86%</a:t>
                      </a:r>
                      <a:endParaRPr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>
                          <a:highlight>
                            <a:srgbClr val="FFFF00"/>
                          </a:highlight>
                        </a:rPr>
                        <a:t>Engage Patients and Community ​</a:t>
                      </a:r>
                      <a:endParaRPr sz="1800" u="none" strike="noStrike" cap="none">
                        <a:highlight>
                          <a:srgbClr val="FFFF00"/>
                        </a:highlight>
                      </a:endParaRPr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>
                          <a:highlight>
                            <a:srgbClr val="FFFF00"/>
                          </a:highlight>
                        </a:rPr>
                        <a:t>in QI Work​</a:t>
                      </a:r>
                      <a:endParaRPr sz="1800" u="none" strike="noStrike" cap="none">
                        <a:solidFill>
                          <a:srgbClr val="444C55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4%​</a:t>
                      </a:r>
                      <a:endParaRPr sz="18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45%​</a:t>
                      </a:r>
                      <a:endParaRPr sz="18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381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Sharing Respectful Care Strategies with Healthcare Team and Patients​</a:t>
                      </a:r>
                      <a:endParaRPr sz="18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9%​</a:t>
                      </a:r>
                      <a:endParaRPr sz="18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86%​</a:t>
                      </a:r>
                      <a:endParaRPr sz="18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>
                          <a:highlight>
                            <a:srgbClr val="FFFF00"/>
                          </a:highlight>
                        </a:rPr>
                        <a:t>PREM Implementation​</a:t>
                      </a:r>
                      <a:endParaRPr sz="1800" u="none" strike="noStrike" cap="none">
                        <a:solidFill>
                          <a:srgbClr val="444C55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9%​</a:t>
                      </a:r>
                      <a:endParaRPr sz="18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67%​</a:t>
                      </a:r>
                      <a:endParaRPr sz="18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Postpartum Safety Patient Education​</a:t>
                      </a:r>
                      <a:endParaRPr sz="18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54%​</a:t>
                      </a:r>
                      <a:endParaRPr sz="18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0" u="none" strike="noStrike" cap="none"/>
                        <a:t>95%​</a:t>
                      </a:r>
                      <a:endParaRPr sz="1800" b="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6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5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UW Health Theme">
  <a:themeElements>
    <a:clrScheme name="UW Health 1">
      <a:dk1>
        <a:srgbClr val="191919"/>
      </a:dk1>
      <a:lt1>
        <a:srgbClr val="FFFFFF"/>
      </a:lt1>
      <a:dk2>
        <a:srgbClr val="495965"/>
      </a:dk2>
      <a:lt2>
        <a:srgbClr val="EDF5F7"/>
      </a:lt2>
      <a:accent1>
        <a:srgbClr val="055EBA"/>
      </a:accent1>
      <a:accent2>
        <a:srgbClr val="31C4F0"/>
      </a:accent2>
      <a:accent3>
        <a:srgbClr val="22C4BF"/>
      </a:accent3>
      <a:accent4>
        <a:srgbClr val="EF2842"/>
      </a:accent4>
      <a:accent5>
        <a:srgbClr val="C5050C"/>
      </a:accent5>
      <a:accent6>
        <a:srgbClr val="A6AFB2"/>
      </a:accent6>
      <a:hlink>
        <a:srgbClr val="001964"/>
      </a:hlink>
      <a:folHlink>
        <a:srgbClr val="001964"/>
      </a:folHlink>
    </a:clrScheme>
    <a:fontScheme name="UW Health">
      <a:majorFont>
        <a:latin typeface="Spectral ExtraBold"/>
        <a:ea typeface=""/>
        <a:cs typeface=""/>
      </a:majorFont>
      <a:minorFont>
        <a:latin typeface="Metropoli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normAutofit/>
      </a:bodyPr>
      <a:lstStyle>
        <a:defPPr marL="571500" marR="0" indent="-571500" algn="l" defTabSz="914400" rtl="0" eaLnBrk="1" fontAlgn="ctr" latinLnBrk="0" hangingPunct="1">
          <a:lnSpc>
            <a:spcPct val="112000"/>
          </a:lnSpc>
          <a:spcBef>
            <a:spcPts val="0"/>
          </a:spcBef>
          <a:spcAft>
            <a:spcPts val="600"/>
          </a:spcAft>
          <a:buClr>
            <a:srgbClr val="055EBA"/>
          </a:buClr>
          <a:buSzPct val="120000"/>
          <a:buFont typeface="System Font Regular"/>
          <a:buChar char="○"/>
          <a:tabLst/>
          <a:defRPr kumimoji="0" sz="3600" b="1" i="0" u="none" strike="noStrike" kern="1200" cap="none" spc="0" normalizeH="0" baseline="0" noProof="0" dirty="0" smtClean="0">
            <a:ln>
              <a:noFill/>
            </a:ln>
            <a:solidFill>
              <a:srgbClr val="191919">
                <a:lumMod val="90000"/>
                <a:lumOff val="10000"/>
              </a:srgbClr>
            </a:solidFill>
            <a:effectLst/>
            <a:uLnTx/>
            <a:uFillTx/>
            <a:latin typeface="Metropolis Light" pitchFamily="2" charset="77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A-458768-20 uwhealth.potx" id="{85534CA5-12C9-40B3-B488-B70B3BC8B9BB}" vid="{FDA7F7C9-121D-430D-A8BE-AF49E8ABE5C8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4</TotalTime>
  <Words>1853</Words>
  <Application>Microsoft Office PowerPoint</Application>
  <PresentationFormat>Widescreen</PresentationFormat>
  <Paragraphs>269</Paragraphs>
  <Slides>55</Slides>
  <Notes>43</Notes>
  <HiddenSlides>0</HiddenSlides>
  <MMClips>0</MMClips>
  <ScaleCrop>false</ScaleCrop>
  <HeadingPairs>
    <vt:vector size="4" baseType="variant">
      <vt:variant>
        <vt:lpstr>Theme</vt:lpstr>
      </vt:variant>
      <vt:variant>
        <vt:i4>8</vt:i4>
      </vt:variant>
      <vt:variant>
        <vt:lpstr>Slide Titles</vt:lpstr>
      </vt:variant>
      <vt:variant>
        <vt:i4>55</vt:i4>
      </vt:variant>
    </vt:vector>
  </HeadingPairs>
  <TitlesOfParts>
    <vt:vector size="63" baseType="lpstr">
      <vt:lpstr>3_Office Theme</vt:lpstr>
      <vt:lpstr>6_Office Theme</vt:lpstr>
      <vt:lpstr>1_Office Theme</vt:lpstr>
      <vt:lpstr>5_Office Theme</vt:lpstr>
      <vt:lpstr>Simple Light</vt:lpstr>
      <vt:lpstr>3_Office Theme</vt:lpstr>
      <vt:lpstr>1_Office Theme</vt:lpstr>
      <vt:lpstr>UW Health Theme</vt:lpstr>
      <vt:lpstr>BE Teams Call – REDCap PREM Data Dashboard Review</vt:lpstr>
      <vt:lpstr>Call Overview</vt:lpstr>
      <vt:lpstr>PowerPoint Presentation</vt:lpstr>
      <vt:lpstr>E.N.G.A.G.E. in ILPQC's Annual Conference 2023</vt:lpstr>
      <vt:lpstr>Upcoming Annual Conference Prep</vt:lpstr>
      <vt:lpstr>Birth Equity Data Review</vt:lpstr>
      <vt:lpstr>Birth Equity Initiative Aim</vt:lpstr>
      <vt:lpstr>Achieving Birth Equity QI Excellence Award Will start awarding for ILPQC Annual Meeting 11/2/2023</vt:lpstr>
      <vt:lpstr>ILPQC Hospital Team Data Submission </vt:lpstr>
      <vt:lpstr>PowerPoint Presentation</vt:lpstr>
      <vt:lpstr>Provider, Nurse, and Staff Education </vt:lpstr>
      <vt:lpstr>PREM Data Breakdown</vt:lpstr>
      <vt:lpstr>PREM Survey Completion</vt:lpstr>
      <vt:lpstr>PREM Survey Completion: Demographics</vt:lpstr>
      <vt:lpstr>PREM Survey Results (Q3/Q4 2022 – Q1/Q2 2023)</vt:lpstr>
      <vt:lpstr>PREM Survey Results (Q3/Q4 2022 – Q1/Q2 2023)</vt:lpstr>
      <vt:lpstr>PREM Survey Results (Q3/Q4 2022 – Q1/Q2 2023)</vt:lpstr>
      <vt:lpstr>Summary of PREM data: by Race/Ethnicity</vt:lpstr>
      <vt:lpstr>Summary of PREM data: by Insurance Status</vt:lpstr>
      <vt:lpstr>Improving Respectful Care Requires Shared Decision-Making</vt:lpstr>
      <vt:lpstr>REDCap PREM Data Dashboard Review</vt:lpstr>
      <vt:lpstr>PREM Survey Dashboard Review – Accessing Data</vt:lpstr>
      <vt:lpstr>PREM Survey Dashboard Review – Accessing Data</vt:lpstr>
      <vt:lpstr>PREM Survey Dashboard Review – Accessing Data</vt:lpstr>
      <vt:lpstr>PREM Survey Dashboard Review – Accessing Data</vt:lpstr>
      <vt:lpstr>PREM Survey Dashboard Review – Accessing Data</vt:lpstr>
      <vt:lpstr>PREM Survey Dashboard Review – Accessing Data</vt:lpstr>
      <vt:lpstr>PREM Survey Dashboard Review – Accessing Data</vt:lpstr>
      <vt:lpstr>PREM Survey Dashboard Review – Accessing Data</vt:lpstr>
      <vt:lpstr>PREM Survey Dashboard Review – Accessing Data</vt:lpstr>
      <vt:lpstr>Summary Dashboard (Report 16) Continued</vt:lpstr>
      <vt:lpstr>Next Steps: Sharing PREM Survey Results with Clinical Team Members</vt:lpstr>
      <vt:lpstr>Any Questions?</vt:lpstr>
      <vt:lpstr>Team Talk</vt:lpstr>
      <vt:lpstr>UW Health- SwedishAmerican PREM Dashboard &amp; Survey Results</vt:lpstr>
      <vt:lpstr>Utilizing the Dashboard to Review &amp; Share Results</vt:lpstr>
      <vt:lpstr>Creates Awareness</vt:lpstr>
      <vt:lpstr>Making Meaningful Change</vt:lpstr>
      <vt:lpstr>Example of Shared PREM Results</vt:lpstr>
      <vt:lpstr>Example of Shared PREM Results</vt:lpstr>
      <vt:lpstr>Our ILPQC Goal for Patient Engagement</vt:lpstr>
      <vt:lpstr>Our ILPQC goal for Patient Engagement</vt:lpstr>
      <vt:lpstr>Patient Engagement Leader Recognition at Annual Conference</vt:lpstr>
      <vt:lpstr>Once a patient partner for your BE QI team has been identified:</vt:lpstr>
      <vt:lpstr>Birth Equity QI Summer Series Recap!</vt:lpstr>
      <vt:lpstr>PowerPoint Presentation</vt:lpstr>
      <vt:lpstr>Congrats to the following teams who attended all 3 summer series calls!</vt:lpstr>
      <vt:lpstr>Additional Resources / Announcements</vt:lpstr>
      <vt:lpstr>NEW I PROMOTE-IL Postpartum Patient Safety Flyers</vt:lpstr>
      <vt:lpstr>I PROMOTE-IL Maternal Health Digital Library &amp; Business Cards Available</vt:lpstr>
      <vt:lpstr>ILPQC-Sponsored – FREE AWHONN Resource for your Respectful Care work:  Respectful Maternity Care Guideline  (RMC-EBG) &amp;  Implementation Toolkit (RMC-IT)</vt:lpstr>
      <vt:lpstr>Upcoming ICAAP COVID-19 Vaccination Webinar  9.28.2023</vt:lpstr>
      <vt:lpstr>Upcoming ILPQC BE calls</vt:lpstr>
      <vt:lpstr>Upcoming BE Call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 Teams Call</dc:title>
  <dc:creator>Aleena Lida Surenian</dc:creator>
  <cp:lastModifiedBy>Ann</cp:lastModifiedBy>
  <cp:revision>80</cp:revision>
  <dcterms:created xsi:type="dcterms:W3CDTF">2023-02-21T14:56:45Z</dcterms:created>
  <dcterms:modified xsi:type="dcterms:W3CDTF">2023-09-18T15:44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44A7A73C8F0B488F2B94D68313F34F</vt:lpwstr>
  </property>
  <property fmtid="{D5CDD505-2E9C-101B-9397-08002B2CF9AE}" pid="3" name="MediaServiceImageTags">
    <vt:lpwstr/>
  </property>
</Properties>
</file>